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2.xml" ContentType="application/vnd.openxmlformats-officedocument.theme+xml"/>
  <Override PartName="/ppt/tags/tag19.xml" ContentType="application/vnd.openxmlformats-officedocument.presentationml.tags+xml"/>
  <Override PartName="/ppt/notesSlides/notesSlide1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2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3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4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5" r:id="rId7"/>
  </p:sldMasterIdLst>
  <p:notesMasterIdLst>
    <p:notesMasterId r:id="rId15"/>
  </p:notesMasterIdLst>
  <p:sldIdLst>
    <p:sldId id="2147470426" r:id="rId8"/>
    <p:sldId id="265" r:id="rId9"/>
    <p:sldId id="2147470429" r:id="rId10"/>
    <p:sldId id="4055" r:id="rId11"/>
    <p:sldId id="4051" r:id="rId12"/>
    <p:sldId id="2147470430" r:id="rId13"/>
    <p:sldId id="2147470428" r:id="rId14"/>
  </p:sldIdLst>
  <p:sldSz cx="12192000" cy="6858000"/>
  <p:notesSz cx="14351000" cy="9918700"/>
  <p:custDataLst>
    <p:tags r:id="rId1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D730220-5F68-BAE5-5E73-88D71E21778C}" name="Gael Delaunay" initials="GD" userId="S::ah027@deutsche-boerse.com::540a2b45-509f-4fa5-8bcd-cdc7acd01296" providerId="AD"/>
  <p188:author id="{68289637-D23B-7EEF-A38D-3FB458A81898}" name="Sandra Weber" initials="SW" userId="S::pz051@deutsche-boerse.com::718c032e-b891-4b3f-b0be-140080ef055b" providerId="AD"/>
  <p188:author id="{74AA766B-3246-C34D-B5C6-D4B0BDBE1C1E}" name="Nathalia Teofilo" initials="NT" userId="S::pe281@deutsche-boerse.com::a133e4ba-ab9f-49ee-af0a-93e33fb61143" providerId="AD"/>
  <p188:author id="{03253E70-85BA-8B8C-0E2D-70825EC5A565}" name="Gregory Rodeheaver" initials="GR" userId="S::vg998@deutsche-boerse.com::40103801-f1c8-4385-9963-f9aaf151c868" providerId="AD"/>
  <p188:author id="{ECF5E08E-FB40-1BCF-D72D-FA909EAD5278}" name="Jerome Boulanger" initials="JB" userId="S::dc681@deutsche-boerse.com::cf385dbd-736e-4ea4-9fc7-e655266605c0" providerId="AD"/>
  <p188:author id="{D2E05EBD-8A2A-F3CD-2268-B9C192A77963}" name="Kadian Bogle" initials="KB" userId="S::ux460@deutsche-boerse.com::76cab89d-9b55-45a8-91e0-56ac793fecde" providerId="AD"/>
  <p188:author id="{C8DAA3D0-79B9-D338-08C1-CC3A3978D8BE}" name="Marton Szigeti" initials="MS" userId="S::gw536@deutsche-boerse.com::d1bde473-5861-49d9-b6de-e8a803eb9805" providerId="AD"/>
  <p188:author id="{B82476D4-F8CC-271A-D185-B32FE0D8357D}" name="Fabrice Tomenko" initials="FT" userId="S::es279@deutsche-boerse.com::0acc1ced-427c-490d-a6ca-9c16a3048b9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18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BD92D59-C5ED-42A1-B30C-EFBD6F65C4E3}" v="88" dt="2024-03-06T20:24:13.588"/>
  </p1510:revLst>
</p1510:revInfo>
</file>

<file path=ppt/tableStyles.xml><?xml version="1.0" encoding="utf-8"?>
<a:tblStyleLst xmlns:a="http://schemas.openxmlformats.org/drawingml/2006/main" def="{5FD0F851-EC5A-4D38-B0AD-8093EC10F338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8034E78-7F5D-4C2E-B375-FC64B27BC917}" styleName="Dunkle Formatvorlag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FD0F851-EC5A-4D38-B0AD-8093EC10F338}" styleName="Helle Formatvorlage 1 - Akz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6" d="100"/>
          <a:sy n="76" d="100"/>
        </p:scale>
        <p:origin x="1122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Master" Target="slideMasters/slideMaster1.xml"/><Relationship Id="rId12" Type="http://schemas.openxmlformats.org/officeDocument/2006/relationships/slide" Target="slides/slide5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4.xml"/><Relationship Id="rId5" Type="http://schemas.openxmlformats.org/officeDocument/2006/relationships/customXml" Target="../customXml/item5.xml"/><Relationship Id="rId15" Type="http://schemas.openxmlformats.org/officeDocument/2006/relationships/notesMaster" Target="notesMasters/notesMaster1.xml"/><Relationship Id="rId23" Type="http://schemas.microsoft.com/office/2018/10/relationships/authors" Target="authors.xml"/><Relationship Id="rId10" Type="http://schemas.openxmlformats.org/officeDocument/2006/relationships/slide" Target="slides/slide3.xml"/><Relationship Id="rId19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athalia Teofilo" userId="a133e4ba-ab9f-49ee-af0a-93e33fb61143" providerId="ADAL" clId="{2BD92D59-C5ED-42A1-B30C-EFBD6F65C4E3}"/>
    <pc:docChg chg="undo custSel modSld">
      <pc:chgData name="Nathalia Teofilo" userId="a133e4ba-ab9f-49ee-af0a-93e33fb61143" providerId="ADAL" clId="{2BD92D59-C5ED-42A1-B30C-EFBD6F65C4E3}" dt="2024-03-06T20:36:11.612" v="1581" actId="313"/>
      <pc:docMkLst>
        <pc:docMk/>
      </pc:docMkLst>
      <pc:sldChg chg="modSp mod delCm">
        <pc:chgData name="Nathalia Teofilo" userId="a133e4ba-ab9f-49ee-af0a-93e33fb61143" providerId="ADAL" clId="{2BD92D59-C5ED-42A1-B30C-EFBD6F65C4E3}" dt="2024-03-06T20:14:50.756" v="1305" actId="20577"/>
        <pc:sldMkLst>
          <pc:docMk/>
          <pc:sldMk cId="1120281149" sldId="265"/>
        </pc:sldMkLst>
        <pc:spChg chg="mod">
          <ac:chgData name="Nathalia Teofilo" userId="a133e4ba-ab9f-49ee-af0a-93e33fb61143" providerId="ADAL" clId="{2BD92D59-C5ED-42A1-B30C-EFBD6F65C4E3}" dt="2024-03-05T20:56:45.328" v="1148" actId="790"/>
          <ac:spMkLst>
            <pc:docMk/>
            <pc:sldMk cId="1120281149" sldId="265"/>
            <ac:spMk id="14" creationId="{80BB1A20-854F-45E7-9C19-8D491B4AA253}"/>
          </ac:spMkLst>
        </pc:spChg>
        <pc:graphicFrameChg chg="modGraphic">
          <ac:chgData name="Nathalia Teofilo" userId="a133e4ba-ab9f-49ee-af0a-93e33fb61143" providerId="ADAL" clId="{2BD92D59-C5ED-42A1-B30C-EFBD6F65C4E3}" dt="2024-03-06T20:14:50.756" v="1305" actId="20577"/>
          <ac:graphicFrameMkLst>
            <pc:docMk/>
            <pc:sldMk cId="1120281149" sldId="265"/>
            <ac:graphicFrameMk id="4" creationId="{FF18EE13-4240-455C-8D03-FBB2A2C27705}"/>
          </ac:graphicFrameMkLst>
        </pc:graphicFrame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Nathalia Teofilo" userId="a133e4ba-ab9f-49ee-af0a-93e33fb61143" providerId="ADAL" clId="{2BD92D59-C5ED-42A1-B30C-EFBD6F65C4E3}" dt="2024-03-05T19:49:37.552" v="481"/>
              <pc2:cmMkLst xmlns:pc2="http://schemas.microsoft.com/office/powerpoint/2019/9/main/command">
                <pc:docMk/>
                <pc:sldMk cId="1120281149" sldId="265"/>
                <pc2:cmMk id="{9B724DCB-2BE1-44DF-BEAE-AAFA6315DE83}"/>
              </pc2:cmMkLst>
            </pc226:cmChg>
          </p:ext>
        </pc:extLst>
      </pc:sldChg>
      <pc:sldChg chg="modSp mod">
        <pc:chgData name="Nathalia Teofilo" userId="a133e4ba-ab9f-49ee-af0a-93e33fb61143" providerId="ADAL" clId="{2BD92D59-C5ED-42A1-B30C-EFBD6F65C4E3}" dt="2024-03-06T20:34:30.206" v="1546" actId="20577"/>
        <pc:sldMkLst>
          <pc:docMk/>
          <pc:sldMk cId="2515545968" sldId="4051"/>
        </pc:sldMkLst>
        <pc:spChg chg="mod">
          <ac:chgData name="Nathalia Teofilo" userId="a133e4ba-ab9f-49ee-af0a-93e33fb61143" providerId="ADAL" clId="{2BD92D59-C5ED-42A1-B30C-EFBD6F65C4E3}" dt="2024-03-06T19:33:50.928" v="1279" actId="6549"/>
          <ac:spMkLst>
            <pc:docMk/>
            <pc:sldMk cId="2515545968" sldId="4051"/>
            <ac:spMk id="4" creationId="{4A000BA2-87D1-420C-8624-CCA3C91B9AC1}"/>
          </ac:spMkLst>
        </pc:spChg>
        <pc:spChg chg="mod">
          <ac:chgData name="Nathalia Teofilo" userId="a133e4ba-ab9f-49ee-af0a-93e33fb61143" providerId="ADAL" clId="{2BD92D59-C5ED-42A1-B30C-EFBD6F65C4E3}" dt="2024-03-06T20:34:01.883" v="1531" actId="20577"/>
          <ac:spMkLst>
            <pc:docMk/>
            <pc:sldMk cId="2515545968" sldId="4051"/>
            <ac:spMk id="8" creationId="{80D2CBFC-D31A-477F-AE1E-CE6EBAD2BD45}"/>
          </ac:spMkLst>
        </pc:spChg>
        <pc:spChg chg="mod">
          <ac:chgData name="Nathalia Teofilo" userId="a133e4ba-ab9f-49ee-af0a-93e33fb61143" providerId="ADAL" clId="{2BD92D59-C5ED-42A1-B30C-EFBD6F65C4E3}" dt="2024-03-06T20:34:30.206" v="1546" actId="20577"/>
          <ac:spMkLst>
            <pc:docMk/>
            <pc:sldMk cId="2515545968" sldId="4051"/>
            <ac:spMk id="13" creationId="{AA1033DE-8590-E41F-518C-4C6E6A3954EE}"/>
          </ac:spMkLst>
        </pc:spChg>
        <pc:picChg chg="mod">
          <ac:chgData name="Nathalia Teofilo" userId="a133e4ba-ab9f-49ee-af0a-93e33fb61143" providerId="ADAL" clId="{2BD92D59-C5ED-42A1-B30C-EFBD6F65C4E3}" dt="2024-03-06T19:32:49.911" v="1267" actId="12789"/>
          <ac:picMkLst>
            <pc:docMk/>
            <pc:sldMk cId="2515545968" sldId="4051"/>
            <ac:picMk id="11" creationId="{256170E1-3CDE-4729-8951-EB4192D50EA3}"/>
          </ac:picMkLst>
        </pc:picChg>
      </pc:sldChg>
      <pc:sldChg chg="addSp delSp modSp mod delCm">
        <pc:chgData name="Nathalia Teofilo" userId="a133e4ba-ab9f-49ee-af0a-93e33fb61143" providerId="ADAL" clId="{2BD92D59-C5ED-42A1-B30C-EFBD6F65C4E3}" dt="2024-03-06T19:33:13.945" v="1268" actId="120"/>
        <pc:sldMkLst>
          <pc:docMk/>
          <pc:sldMk cId="1324684131" sldId="4055"/>
        </pc:sldMkLst>
        <pc:spChg chg="mod">
          <ac:chgData name="Nathalia Teofilo" userId="a133e4ba-ab9f-49ee-af0a-93e33fb61143" providerId="ADAL" clId="{2BD92D59-C5ED-42A1-B30C-EFBD6F65C4E3}" dt="2024-03-05T20:58:08.692" v="1169" actId="313"/>
          <ac:spMkLst>
            <pc:docMk/>
            <pc:sldMk cId="1324684131" sldId="4055"/>
            <ac:spMk id="4" creationId="{4A000BA2-87D1-420C-8624-CCA3C91B9AC1}"/>
          </ac:spMkLst>
        </pc:spChg>
        <pc:spChg chg="mod">
          <ac:chgData name="Nathalia Teofilo" userId="a133e4ba-ab9f-49ee-af0a-93e33fb61143" providerId="ADAL" clId="{2BD92D59-C5ED-42A1-B30C-EFBD6F65C4E3}" dt="2024-03-06T19:33:13.945" v="1268" actId="120"/>
          <ac:spMkLst>
            <pc:docMk/>
            <pc:sldMk cId="1324684131" sldId="4055"/>
            <ac:spMk id="5" creationId="{C9B44A4A-0AC2-4655-9874-E49E2B6886F6}"/>
          </ac:spMkLst>
        </pc:spChg>
        <pc:spChg chg="add del mod">
          <ac:chgData name="Nathalia Teofilo" userId="a133e4ba-ab9f-49ee-af0a-93e33fb61143" providerId="ADAL" clId="{2BD92D59-C5ED-42A1-B30C-EFBD6F65C4E3}" dt="2024-03-06T19:23:03.329" v="1195" actId="478"/>
          <ac:spMkLst>
            <pc:docMk/>
            <pc:sldMk cId="1324684131" sldId="4055"/>
            <ac:spMk id="6" creationId="{6D6CD657-A4CF-AB0A-D58B-4EC648105A56}"/>
          </ac:spMkLst>
        </pc:spChg>
        <pc:spChg chg="del mod">
          <ac:chgData name="Nathalia Teofilo" userId="a133e4ba-ab9f-49ee-af0a-93e33fb61143" providerId="ADAL" clId="{2BD92D59-C5ED-42A1-B30C-EFBD6F65C4E3}" dt="2024-03-06T19:22:14.059" v="1184" actId="478"/>
          <ac:spMkLst>
            <pc:docMk/>
            <pc:sldMk cId="1324684131" sldId="4055"/>
            <ac:spMk id="12" creationId="{C60D2528-386C-874E-9C43-E2454546023A}"/>
          </ac:spMkLst>
        </pc:spChg>
        <pc:spChg chg="add mod">
          <ac:chgData name="Nathalia Teofilo" userId="a133e4ba-ab9f-49ee-af0a-93e33fb61143" providerId="ADAL" clId="{2BD92D59-C5ED-42A1-B30C-EFBD6F65C4E3}" dt="2024-03-06T19:32:41.457" v="1266" actId="12789"/>
          <ac:spMkLst>
            <pc:docMk/>
            <pc:sldMk cId="1324684131" sldId="4055"/>
            <ac:spMk id="20" creationId="{5134395C-72D9-D3BE-7838-29F219619201}"/>
          </ac:spMkLst>
        </pc:spChg>
        <pc:grpChg chg="add mod">
          <ac:chgData name="Nathalia Teofilo" userId="a133e4ba-ab9f-49ee-af0a-93e33fb61143" providerId="ADAL" clId="{2BD92D59-C5ED-42A1-B30C-EFBD6F65C4E3}" dt="2024-03-06T19:32:41.457" v="1266" actId="12789"/>
          <ac:grpSpMkLst>
            <pc:docMk/>
            <pc:sldMk cId="1324684131" sldId="4055"/>
            <ac:grpSpMk id="7" creationId="{88AE0D4B-BBCC-5A37-8C9E-9C7863BA8BE9}"/>
          </ac:grpSpMkLst>
        </pc:grpChg>
        <pc:grpChg chg="del">
          <ac:chgData name="Nathalia Teofilo" userId="a133e4ba-ab9f-49ee-af0a-93e33fb61143" providerId="ADAL" clId="{2BD92D59-C5ED-42A1-B30C-EFBD6F65C4E3}" dt="2024-03-06T19:22:15.586" v="1185" actId="478"/>
          <ac:grpSpMkLst>
            <pc:docMk/>
            <pc:sldMk cId="1324684131" sldId="4055"/>
            <ac:grpSpMk id="11" creationId="{BF184649-E013-D4F3-8FD8-D3468DF4B158}"/>
          </ac:grpSpMkLst>
        </pc:grpChg>
        <pc:picChg chg="mod">
          <ac:chgData name="Nathalia Teofilo" userId="a133e4ba-ab9f-49ee-af0a-93e33fb61143" providerId="ADAL" clId="{2BD92D59-C5ED-42A1-B30C-EFBD6F65C4E3}" dt="2024-03-06T19:32:41.457" v="1266" actId="12789"/>
          <ac:picMkLst>
            <pc:docMk/>
            <pc:sldMk cId="1324684131" sldId="4055"/>
            <ac:picMk id="10" creationId="{F17C07E6-469D-0BA3-E84E-4ADEC7E981AC}"/>
          </ac:picMkLst>
        </pc:picChg>
        <pc:picChg chg="mod">
          <ac:chgData name="Nathalia Teofilo" userId="a133e4ba-ab9f-49ee-af0a-93e33fb61143" providerId="ADAL" clId="{2BD92D59-C5ED-42A1-B30C-EFBD6F65C4E3}" dt="2024-03-06T19:32:41.457" v="1266" actId="12789"/>
          <ac:picMkLst>
            <pc:docMk/>
            <pc:sldMk cId="1324684131" sldId="4055"/>
            <ac:picMk id="13" creationId="{8B10D876-8E2B-1B85-ACA0-FE59D45C5F6F}"/>
          </ac:picMkLst>
        </pc:picChg>
        <pc:picChg chg="mod">
          <ac:chgData name="Nathalia Teofilo" userId="a133e4ba-ab9f-49ee-af0a-93e33fb61143" providerId="ADAL" clId="{2BD92D59-C5ED-42A1-B30C-EFBD6F65C4E3}" dt="2024-03-06T19:32:41.457" v="1266" actId="12789"/>
          <ac:picMkLst>
            <pc:docMk/>
            <pc:sldMk cId="1324684131" sldId="4055"/>
            <ac:picMk id="14" creationId="{4BCD851B-B3A3-7EC2-6685-603FEA2CBA1B}"/>
          </ac:picMkLst>
        </pc:picChg>
        <pc:picChg chg="mod">
          <ac:chgData name="Nathalia Teofilo" userId="a133e4ba-ab9f-49ee-af0a-93e33fb61143" providerId="ADAL" clId="{2BD92D59-C5ED-42A1-B30C-EFBD6F65C4E3}" dt="2024-03-06T19:32:41.457" v="1266" actId="12789"/>
          <ac:picMkLst>
            <pc:docMk/>
            <pc:sldMk cId="1324684131" sldId="4055"/>
            <ac:picMk id="18" creationId="{D5F98DC3-5DCE-56B5-ED81-1462F8552C59}"/>
          </ac:picMkLst>
        </pc:picChg>
        <pc:picChg chg="mod">
          <ac:chgData name="Nathalia Teofilo" userId="a133e4ba-ab9f-49ee-af0a-93e33fb61143" providerId="ADAL" clId="{2BD92D59-C5ED-42A1-B30C-EFBD6F65C4E3}" dt="2024-03-06T19:32:41.457" v="1266" actId="12789"/>
          <ac:picMkLst>
            <pc:docMk/>
            <pc:sldMk cId="1324684131" sldId="4055"/>
            <ac:picMk id="19" creationId="{0AF7EA8D-887F-D657-ADDB-C1F33AA34C0F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Nathalia Teofilo" userId="a133e4ba-ab9f-49ee-af0a-93e33fb61143" providerId="ADAL" clId="{2BD92D59-C5ED-42A1-B30C-EFBD6F65C4E3}" dt="2024-03-05T19:49:41.597" v="482"/>
              <pc2:cmMkLst xmlns:pc2="http://schemas.microsoft.com/office/powerpoint/2019/9/main/command">
                <pc:docMk/>
                <pc:sldMk cId="1324684131" sldId="4055"/>
                <pc2:cmMk id="{4B79176B-BA28-4246-8A2C-E6EEFE9DAF38}"/>
              </pc2:cmMkLst>
            </pc226:cmChg>
          </p:ext>
        </pc:extLst>
      </pc:sldChg>
      <pc:sldChg chg="modSp mod">
        <pc:chgData name="Nathalia Teofilo" userId="a133e4ba-ab9f-49ee-af0a-93e33fb61143" providerId="ADAL" clId="{2BD92D59-C5ED-42A1-B30C-EFBD6F65C4E3}" dt="2024-03-06T20:36:11.612" v="1581" actId="313"/>
        <pc:sldMkLst>
          <pc:docMk/>
          <pc:sldMk cId="3409164039" sldId="2147470426"/>
        </pc:sldMkLst>
        <pc:spChg chg="mod">
          <ac:chgData name="Nathalia Teofilo" userId="a133e4ba-ab9f-49ee-af0a-93e33fb61143" providerId="ADAL" clId="{2BD92D59-C5ED-42A1-B30C-EFBD6F65C4E3}" dt="2024-03-06T20:36:11.612" v="1581" actId="313"/>
          <ac:spMkLst>
            <pc:docMk/>
            <pc:sldMk cId="3409164039" sldId="2147470426"/>
            <ac:spMk id="6" creationId="{1057247B-0A14-439E-FEAC-94167F320656}"/>
          </ac:spMkLst>
        </pc:spChg>
      </pc:sldChg>
      <pc:sldChg chg="modSp mod">
        <pc:chgData name="Nathalia Teofilo" userId="a133e4ba-ab9f-49ee-af0a-93e33fb61143" providerId="ADAL" clId="{2BD92D59-C5ED-42A1-B30C-EFBD6F65C4E3}" dt="2024-03-05T20:59:19.351" v="1182" actId="313"/>
        <pc:sldMkLst>
          <pc:docMk/>
          <pc:sldMk cId="985166175" sldId="2147470428"/>
        </pc:sldMkLst>
        <pc:spChg chg="mod">
          <ac:chgData name="Nathalia Teofilo" userId="a133e4ba-ab9f-49ee-af0a-93e33fb61143" providerId="ADAL" clId="{2BD92D59-C5ED-42A1-B30C-EFBD6F65C4E3}" dt="2024-03-05T20:59:12.350" v="1180" actId="313"/>
          <ac:spMkLst>
            <pc:docMk/>
            <pc:sldMk cId="985166175" sldId="2147470428"/>
            <ac:spMk id="10" creationId="{84F75D25-4D2D-4DF4-AFE4-B8E3E4509B36}"/>
          </ac:spMkLst>
        </pc:spChg>
        <pc:spChg chg="mod">
          <ac:chgData name="Nathalia Teofilo" userId="a133e4ba-ab9f-49ee-af0a-93e33fb61143" providerId="ADAL" clId="{2BD92D59-C5ED-42A1-B30C-EFBD6F65C4E3}" dt="2024-03-05T20:59:19.351" v="1182" actId="313"/>
          <ac:spMkLst>
            <pc:docMk/>
            <pc:sldMk cId="985166175" sldId="2147470428"/>
            <ac:spMk id="11" creationId="{ADF326C5-C875-4680-87D0-9B1C338CD5BB}"/>
          </ac:spMkLst>
        </pc:spChg>
      </pc:sldChg>
      <pc:sldChg chg="addSp delSp modSp mod delCm">
        <pc:chgData name="Nathalia Teofilo" userId="a133e4ba-ab9f-49ee-af0a-93e33fb61143" providerId="ADAL" clId="{2BD92D59-C5ED-42A1-B30C-EFBD6F65C4E3}" dt="2024-03-06T20:26:09.929" v="1524" actId="790"/>
        <pc:sldMkLst>
          <pc:docMk/>
          <pc:sldMk cId="1815646555" sldId="2147470429"/>
        </pc:sldMkLst>
        <pc:spChg chg="mod">
          <ac:chgData name="Nathalia Teofilo" userId="a133e4ba-ab9f-49ee-af0a-93e33fb61143" providerId="ADAL" clId="{2BD92D59-C5ED-42A1-B30C-EFBD6F65C4E3}" dt="2024-03-05T19:50:22.056" v="500" actId="6549"/>
          <ac:spMkLst>
            <pc:docMk/>
            <pc:sldMk cId="1815646555" sldId="2147470429"/>
            <ac:spMk id="2" creationId="{0D493B66-1A95-8362-1F09-054D626A7026}"/>
          </ac:spMkLst>
        </pc:spChg>
        <pc:spChg chg="mod">
          <ac:chgData name="Nathalia Teofilo" userId="a133e4ba-ab9f-49ee-af0a-93e33fb61143" providerId="ADAL" clId="{2BD92D59-C5ED-42A1-B30C-EFBD6F65C4E3}" dt="2024-03-06T20:23:08.375" v="1431" actId="18245"/>
          <ac:spMkLst>
            <pc:docMk/>
            <pc:sldMk cId="1815646555" sldId="2147470429"/>
            <ac:spMk id="7" creationId="{FED3C3F3-B363-E69D-BA96-A86307216A1A}"/>
          </ac:spMkLst>
        </pc:spChg>
        <pc:spChg chg="mod">
          <ac:chgData name="Nathalia Teofilo" userId="a133e4ba-ab9f-49ee-af0a-93e33fb61143" providerId="ADAL" clId="{2BD92D59-C5ED-42A1-B30C-EFBD6F65C4E3}" dt="2024-03-06T20:23:08.375" v="1431" actId="18245"/>
          <ac:spMkLst>
            <pc:docMk/>
            <pc:sldMk cId="1815646555" sldId="2147470429"/>
            <ac:spMk id="8" creationId="{0610B207-37E9-82A1-85C1-1C7FCCB81E36}"/>
          </ac:spMkLst>
        </pc:spChg>
        <pc:spChg chg="mod">
          <ac:chgData name="Nathalia Teofilo" userId="a133e4ba-ab9f-49ee-af0a-93e33fb61143" providerId="ADAL" clId="{2BD92D59-C5ED-42A1-B30C-EFBD6F65C4E3}" dt="2024-03-06T20:23:08.375" v="1431" actId="18245"/>
          <ac:spMkLst>
            <pc:docMk/>
            <pc:sldMk cId="1815646555" sldId="2147470429"/>
            <ac:spMk id="9" creationId="{FE5BCCE5-FB3A-3384-7D1F-837F1CDBBF47}"/>
          </ac:spMkLst>
        </pc:spChg>
        <pc:spChg chg="mod">
          <ac:chgData name="Nathalia Teofilo" userId="a133e4ba-ab9f-49ee-af0a-93e33fb61143" providerId="ADAL" clId="{2BD92D59-C5ED-42A1-B30C-EFBD6F65C4E3}" dt="2024-03-06T20:23:08.375" v="1431" actId="18245"/>
          <ac:spMkLst>
            <pc:docMk/>
            <pc:sldMk cId="1815646555" sldId="2147470429"/>
            <ac:spMk id="10" creationId="{77BA9E00-E1B2-F839-59AA-D137C7250537}"/>
          </ac:spMkLst>
        </pc:spChg>
        <pc:spChg chg="mod">
          <ac:chgData name="Nathalia Teofilo" userId="a133e4ba-ab9f-49ee-af0a-93e33fb61143" providerId="ADAL" clId="{2BD92D59-C5ED-42A1-B30C-EFBD6F65C4E3}" dt="2024-03-06T20:23:08.375" v="1431" actId="18245"/>
          <ac:spMkLst>
            <pc:docMk/>
            <pc:sldMk cId="1815646555" sldId="2147470429"/>
            <ac:spMk id="11" creationId="{5F02DB8A-4DAB-6A53-068D-E7BCBEE27A1E}"/>
          </ac:spMkLst>
        </pc:spChg>
        <pc:spChg chg="mod">
          <ac:chgData name="Nathalia Teofilo" userId="a133e4ba-ab9f-49ee-af0a-93e33fb61143" providerId="ADAL" clId="{2BD92D59-C5ED-42A1-B30C-EFBD6F65C4E3}" dt="2024-03-06T20:18:15.218" v="1407" actId="207"/>
          <ac:spMkLst>
            <pc:docMk/>
            <pc:sldMk cId="1815646555" sldId="2147470429"/>
            <ac:spMk id="13" creationId="{6B95C3BD-36C8-C463-2D0E-F94DE079D537}"/>
          </ac:spMkLst>
        </pc:spChg>
        <pc:spChg chg="mod">
          <ac:chgData name="Nathalia Teofilo" userId="a133e4ba-ab9f-49ee-af0a-93e33fb61143" providerId="ADAL" clId="{2BD92D59-C5ED-42A1-B30C-EFBD6F65C4E3}" dt="2024-03-06T20:23:08.375" v="1431" actId="18245"/>
          <ac:spMkLst>
            <pc:docMk/>
            <pc:sldMk cId="1815646555" sldId="2147470429"/>
            <ac:spMk id="14" creationId="{F0DB16B5-B2A0-0DA9-E43C-E81A60216635}"/>
          </ac:spMkLst>
        </pc:spChg>
        <pc:spChg chg="mod">
          <ac:chgData name="Nathalia Teofilo" userId="a133e4ba-ab9f-49ee-af0a-93e33fb61143" providerId="ADAL" clId="{2BD92D59-C5ED-42A1-B30C-EFBD6F65C4E3}" dt="2024-03-06T20:23:08.375" v="1431" actId="18245"/>
          <ac:spMkLst>
            <pc:docMk/>
            <pc:sldMk cId="1815646555" sldId="2147470429"/>
            <ac:spMk id="15" creationId="{7966245B-D924-0057-8C16-5B78558C91B8}"/>
          </ac:spMkLst>
        </pc:spChg>
        <pc:spChg chg="mod">
          <ac:chgData name="Nathalia Teofilo" userId="a133e4ba-ab9f-49ee-af0a-93e33fb61143" providerId="ADAL" clId="{2BD92D59-C5ED-42A1-B30C-EFBD6F65C4E3}" dt="2024-03-06T20:23:08.375" v="1431" actId="18245"/>
          <ac:spMkLst>
            <pc:docMk/>
            <pc:sldMk cId="1815646555" sldId="2147470429"/>
            <ac:spMk id="16" creationId="{40EB1C48-65C9-BED7-31AE-B9878F019196}"/>
          </ac:spMkLst>
        </pc:spChg>
        <pc:spChg chg="mod">
          <ac:chgData name="Nathalia Teofilo" userId="a133e4ba-ab9f-49ee-af0a-93e33fb61143" providerId="ADAL" clId="{2BD92D59-C5ED-42A1-B30C-EFBD6F65C4E3}" dt="2024-03-06T20:23:08.375" v="1431" actId="18245"/>
          <ac:spMkLst>
            <pc:docMk/>
            <pc:sldMk cId="1815646555" sldId="2147470429"/>
            <ac:spMk id="17" creationId="{7B8F6591-9AEF-F90A-764D-21B9C3F4DADC}"/>
          </ac:spMkLst>
        </pc:spChg>
        <pc:spChg chg="mod">
          <ac:chgData name="Nathalia Teofilo" userId="a133e4ba-ab9f-49ee-af0a-93e33fb61143" providerId="ADAL" clId="{2BD92D59-C5ED-42A1-B30C-EFBD6F65C4E3}" dt="2024-03-06T20:23:08.375" v="1431" actId="18245"/>
          <ac:spMkLst>
            <pc:docMk/>
            <pc:sldMk cId="1815646555" sldId="2147470429"/>
            <ac:spMk id="18" creationId="{345D69B9-B3DD-90CC-B4B8-312741F451BF}"/>
          </ac:spMkLst>
        </pc:spChg>
        <pc:spChg chg="mod">
          <ac:chgData name="Nathalia Teofilo" userId="a133e4ba-ab9f-49ee-af0a-93e33fb61143" providerId="ADAL" clId="{2BD92D59-C5ED-42A1-B30C-EFBD6F65C4E3}" dt="2024-03-06T20:23:08.375" v="1431" actId="18245"/>
          <ac:spMkLst>
            <pc:docMk/>
            <pc:sldMk cId="1815646555" sldId="2147470429"/>
            <ac:spMk id="19" creationId="{4D3D3146-1F4F-3555-621A-21A8CFBBE13F}"/>
          </ac:spMkLst>
        </pc:spChg>
        <pc:spChg chg="mod">
          <ac:chgData name="Nathalia Teofilo" userId="a133e4ba-ab9f-49ee-af0a-93e33fb61143" providerId="ADAL" clId="{2BD92D59-C5ED-42A1-B30C-EFBD6F65C4E3}" dt="2024-03-06T20:23:03.942" v="1430" actId="18245"/>
          <ac:spMkLst>
            <pc:docMk/>
            <pc:sldMk cId="1815646555" sldId="2147470429"/>
            <ac:spMk id="20" creationId="{D261299F-E968-B9B2-8DDD-636BE5E97B4A}"/>
          </ac:spMkLst>
        </pc:spChg>
        <pc:spChg chg="mod topLvl">
          <ac:chgData name="Nathalia Teofilo" userId="a133e4ba-ab9f-49ee-af0a-93e33fb61143" providerId="ADAL" clId="{2BD92D59-C5ED-42A1-B30C-EFBD6F65C4E3}" dt="2024-03-06T20:26:09.929" v="1524" actId="790"/>
          <ac:spMkLst>
            <pc:docMk/>
            <pc:sldMk cId="1815646555" sldId="2147470429"/>
            <ac:spMk id="22" creationId="{A77855E7-4CF1-3ADC-ED9B-8FD975138233}"/>
          </ac:spMkLst>
        </pc:spChg>
        <pc:spChg chg="mod topLvl">
          <ac:chgData name="Nathalia Teofilo" userId="a133e4ba-ab9f-49ee-af0a-93e33fb61143" providerId="ADAL" clId="{2BD92D59-C5ED-42A1-B30C-EFBD6F65C4E3}" dt="2024-03-06T20:24:13.588" v="1447" actId="165"/>
          <ac:spMkLst>
            <pc:docMk/>
            <pc:sldMk cId="1815646555" sldId="2147470429"/>
            <ac:spMk id="23" creationId="{9A19DD91-37B3-B302-3F3D-CA19C5DBB996}"/>
          </ac:spMkLst>
        </pc:spChg>
        <pc:spChg chg="mod topLvl">
          <ac:chgData name="Nathalia Teofilo" userId="a133e4ba-ab9f-49ee-af0a-93e33fb61143" providerId="ADAL" clId="{2BD92D59-C5ED-42A1-B30C-EFBD6F65C4E3}" dt="2024-03-06T20:24:13.588" v="1447" actId="165"/>
          <ac:spMkLst>
            <pc:docMk/>
            <pc:sldMk cId="1815646555" sldId="2147470429"/>
            <ac:spMk id="24" creationId="{1401AD63-C58B-64B1-44C1-ADF8B380B678}"/>
          </ac:spMkLst>
        </pc:spChg>
        <pc:spChg chg="mod topLvl">
          <ac:chgData name="Nathalia Teofilo" userId="a133e4ba-ab9f-49ee-af0a-93e33fb61143" providerId="ADAL" clId="{2BD92D59-C5ED-42A1-B30C-EFBD6F65C4E3}" dt="2024-03-06T20:24:13.588" v="1447" actId="165"/>
          <ac:spMkLst>
            <pc:docMk/>
            <pc:sldMk cId="1815646555" sldId="2147470429"/>
            <ac:spMk id="25" creationId="{621FC4D6-19B6-33AA-78D8-7A070EAC7EA3}"/>
          </ac:spMkLst>
        </pc:spChg>
        <pc:spChg chg="mod topLvl">
          <ac:chgData name="Nathalia Teofilo" userId="a133e4ba-ab9f-49ee-af0a-93e33fb61143" providerId="ADAL" clId="{2BD92D59-C5ED-42A1-B30C-EFBD6F65C4E3}" dt="2024-03-06T20:24:28.316" v="1469" actId="1035"/>
          <ac:spMkLst>
            <pc:docMk/>
            <pc:sldMk cId="1815646555" sldId="2147470429"/>
            <ac:spMk id="26" creationId="{60B50F28-4D51-519A-7D6F-7E18726D0D39}"/>
          </ac:spMkLst>
        </pc:spChg>
        <pc:spChg chg="mod topLvl">
          <ac:chgData name="Nathalia Teofilo" userId="a133e4ba-ab9f-49ee-af0a-93e33fb61143" providerId="ADAL" clId="{2BD92D59-C5ED-42A1-B30C-EFBD6F65C4E3}" dt="2024-03-06T20:25:23.917" v="1482" actId="14100"/>
          <ac:spMkLst>
            <pc:docMk/>
            <pc:sldMk cId="1815646555" sldId="2147470429"/>
            <ac:spMk id="27" creationId="{7269B21F-A517-C486-1A6F-EF3FF465A963}"/>
          </ac:spMkLst>
        </pc:spChg>
        <pc:spChg chg="mod topLvl">
          <ac:chgData name="Nathalia Teofilo" userId="a133e4ba-ab9f-49ee-af0a-93e33fb61143" providerId="ADAL" clId="{2BD92D59-C5ED-42A1-B30C-EFBD6F65C4E3}" dt="2024-03-06T20:24:13.588" v="1447" actId="165"/>
          <ac:spMkLst>
            <pc:docMk/>
            <pc:sldMk cId="1815646555" sldId="2147470429"/>
            <ac:spMk id="28" creationId="{BA5D21A1-A967-7377-E47E-977CB263D6AF}"/>
          </ac:spMkLst>
        </pc:spChg>
        <pc:spChg chg="mod topLvl">
          <ac:chgData name="Nathalia Teofilo" userId="a133e4ba-ab9f-49ee-af0a-93e33fb61143" providerId="ADAL" clId="{2BD92D59-C5ED-42A1-B30C-EFBD6F65C4E3}" dt="2024-03-06T20:25:28.958" v="1490" actId="1036"/>
          <ac:spMkLst>
            <pc:docMk/>
            <pc:sldMk cId="1815646555" sldId="2147470429"/>
            <ac:spMk id="29" creationId="{BCFBB71F-BEA0-8571-E279-53D210BB58F9}"/>
          </ac:spMkLst>
        </pc:spChg>
        <pc:spChg chg="mod topLvl">
          <ac:chgData name="Nathalia Teofilo" userId="a133e4ba-ab9f-49ee-af0a-93e33fb61143" providerId="ADAL" clId="{2BD92D59-C5ED-42A1-B30C-EFBD6F65C4E3}" dt="2024-03-06T20:24:23.292" v="1458" actId="1035"/>
          <ac:spMkLst>
            <pc:docMk/>
            <pc:sldMk cId="1815646555" sldId="2147470429"/>
            <ac:spMk id="30" creationId="{2A430A6B-662A-F4F3-52F9-26D5CAEA7DDD}"/>
          </ac:spMkLst>
        </pc:spChg>
        <pc:spChg chg="add del mod topLvl">
          <ac:chgData name="Nathalia Teofilo" userId="a133e4ba-ab9f-49ee-af0a-93e33fb61143" providerId="ADAL" clId="{2BD92D59-C5ED-42A1-B30C-EFBD6F65C4E3}" dt="2024-03-06T20:25:55.869" v="1523" actId="14100"/>
          <ac:spMkLst>
            <pc:docMk/>
            <pc:sldMk cId="1815646555" sldId="2147470429"/>
            <ac:spMk id="31" creationId="{6A643736-2FC5-292B-2BB7-07550C27A519}"/>
          </ac:spMkLst>
        </pc:spChg>
        <pc:spChg chg="mod topLvl">
          <ac:chgData name="Nathalia Teofilo" userId="a133e4ba-ab9f-49ee-af0a-93e33fb61143" providerId="ADAL" clId="{2BD92D59-C5ED-42A1-B30C-EFBD6F65C4E3}" dt="2024-03-06T20:24:13.588" v="1447" actId="165"/>
          <ac:spMkLst>
            <pc:docMk/>
            <pc:sldMk cId="1815646555" sldId="2147470429"/>
            <ac:spMk id="32" creationId="{4C2F4AF4-B818-4AE3-BA55-E8A6B08CB5A3}"/>
          </ac:spMkLst>
        </pc:spChg>
        <pc:spChg chg="add del mod topLvl">
          <ac:chgData name="Nathalia Teofilo" userId="a133e4ba-ab9f-49ee-af0a-93e33fb61143" providerId="ADAL" clId="{2BD92D59-C5ED-42A1-B30C-EFBD6F65C4E3}" dt="2024-03-06T20:24:59.934" v="1475" actId="478"/>
          <ac:spMkLst>
            <pc:docMk/>
            <pc:sldMk cId="1815646555" sldId="2147470429"/>
            <ac:spMk id="33" creationId="{8D1296F1-4DF3-E088-8651-69137C16F3D2}"/>
          </ac:spMkLst>
        </pc:spChg>
        <pc:grpChg chg="mod">
          <ac:chgData name="Nathalia Teofilo" userId="a133e4ba-ab9f-49ee-af0a-93e33fb61143" providerId="ADAL" clId="{2BD92D59-C5ED-42A1-B30C-EFBD6F65C4E3}" dt="2024-03-06T20:23:08.375" v="1431" actId="18245"/>
          <ac:grpSpMkLst>
            <pc:docMk/>
            <pc:sldMk cId="1815646555" sldId="2147470429"/>
            <ac:grpSpMk id="6" creationId="{0A5C32CE-A02E-A26B-5894-DE2768C409CA}"/>
          </ac:grpSpMkLst>
        </pc:grpChg>
        <pc:grpChg chg="del mod">
          <ac:chgData name="Nathalia Teofilo" userId="a133e4ba-ab9f-49ee-af0a-93e33fb61143" providerId="ADAL" clId="{2BD92D59-C5ED-42A1-B30C-EFBD6F65C4E3}" dt="2024-03-06T20:24:13.588" v="1447" actId="165"/>
          <ac:grpSpMkLst>
            <pc:docMk/>
            <pc:sldMk cId="1815646555" sldId="2147470429"/>
            <ac:grpSpMk id="21" creationId="{5A5B9A91-48EE-EF44-C601-85FC88ADEEDC}"/>
          </ac:grpSpMkLst>
        </pc:grpChg>
        <pc:graphicFrameChg chg="add del mod modGraphic">
          <ac:chgData name="Nathalia Teofilo" userId="a133e4ba-ab9f-49ee-af0a-93e33fb61143" providerId="ADAL" clId="{2BD92D59-C5ED-42A1-B30C-EFBD6F65C4E3}" dt="2024-03-06T20:24:09.015" v="1446" actId="18245"/>
          <ac:graphicFrameMkLst>
            <pc:docMk/>
            <pc:sldMk cId="1815646555" sldId="2147470429"/>
            <ac:graphicFrameMk id="12" creationId="{6428744C-59BE-6391-42C8-3FB5A24EDEB4}"/>
          </ac:graphicFrameMkLst>
        </pc:graphicFrame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Nathalia Teofilo" userId="a133e4ba-ab9f-49ee-af0a-93e33fb61143" providerId="ADAL" clId="{2BD92D59-C5ED-42A1-B30C-EFBD6F65C4E3}" dt="2024-03-05T19:49:34.392" v="480"/>
              <pc2:cmMkLst xmlns:pc2="http://schemas.microsoft.com/office/powerpoint/2019/9/main/command">
                <pc:docMk/>
                <pc:sldMk cId="1815646555" sldId="2147470429"/>
                <pc2:cmMk id="{6F16586D-065A-4AAA-8EB0-3DEBA3783BAC}"/>
              </pc2:cmMkLst>
            </pc226:cmChg>
          </p:ext>
        </pc:extLst>
      </pc:sldChg>
      <pc:sldChg chg="modSp mod delCm">
        <pc:chgData name="Nathalia Teofilo" userId="a133e4ba-ab9f-49ee-af0a-93e33fb61143" providerId="ADAL" clId="{2BD92D59-C5ED-42A1-B30C-EFBD6F65C4E3}" dt="2024-03-06T20:36:06.428" v="1580" actId="313"/>
        <pc:sldMkLst>
          <pc:docMk/>
          <pc:sldMk cId="906068552" sldId="2147470430"/>
        </pc:sldMkLst>
        <pc:spChg chg="mod">
          <ac:chgData name="Nathalia Teofilo" userId="a133e4ba-ab9f-49ee-af0a-93e33fb61143" providerId="ADAL" clId="{2BD92D59-C5ED-42A1-B30C-EFBD6F65C4E3}" dt="2024-03-06T20:36:06.428" v="1580" actId="313"/>
          <ac:spMkLst>
            <pc:docMk/>
            <pc:sldMk cId="906068552" sldId="2147470430"/>
            <ac:spMk id="2" creationId="{1C652582-C388-F649-8158-91B5FC542000}"/>
          </ac:spMkLst>
        </pc:spChg>
        <pc:spChg chg="mod">
          <ac:chgData name="Nathalia Teofilo" userId="a133e4ba-ab9f-49ee-af0a-93e33fb61143" providerId="ADAL" clId="{2BD92D59-C5ED-42A1-B30C-EFBD6F65C4E3}" dt="2024-03-05T20:58:57.192" v="1177" actId="790"/>
          <ac:spMkLst>
            <pc:docMk/>
            <pc:sldMk cId="906068552" sldId="2147470430"/>
            <ac:spMk id="4" creationId="{6CDE0864-E124-266F-2B59-835FEF97A380}"/>
          </ac:spMkLst>
        </pc:spChg>
        <pc:spChg chg="mod">
          <ac:chgData name="Nathalia Teofilo" userId="a133e4ba-ab9f-49ee-af0a-93e33fb61143" providerId="ADAL" clId="{2BD92D59-C5ED-42A1-B30C-EFBD6F65C4E3}" dt="2024-03-05T20:58:42.071" v="1174" actId="313"/>
          <ac:spMkLst>
            <pc:docMk/>
            <pc:sldMk cId="906068552" sldId="2147470430"/>
            <ac:spMk id="6" creationId="{A97307BA-9BD3-DE25-3C2F-494354A8A8D1}"/>
          </ac:spMkLst>
        </pc:spChg>
        <pc:spChg chg="mod">
          <ac:chgData name="Nathalia Teofilo" userId="a133e4ba-ab9f-49ee-af0a-93e33fb61143" providerId="ADAL" clId="{2BD92D59-C5ED-42A1-B30C-EFBD6F65C4E3}" dt="2024-03-05T20:58:57.192" v="1177" actId="790"/>
          <ac:spMkLst>
            <pc:docMk/>
            <pc:sldMk cId="906068552" sldId="2147470430"/>
            <ac:spMk id="7" creationId="{50671D06-C24D-3FF5-CF25-1CC9DAA16209}"/>
          </ac:spMkLst>
        </pc:spChg>
        <pc:spChg chg="mod">
          <ac:chgData name="Nathalia Teofilo" userId="a133e4ba-ab9f-49ee-af0a-93e33fb61143" providerId="ADAL" clId="{2BD92D59-C5ED-42A1-B30C-EFBD6F65C4E3}" dt="2024-03-05T20:58:57.192" v="1177" actId="790"/>
          <ac:spMkLst>
            <pc:docMk/>
            <pc:sldMk cId="906068552" sldId="2147470430"/>
            <ac:spMk id="9" creationId="{D8949FF0-8DD3-816B-DD78-8CAE3E5C926B}"/>
          </ac:spMkLst>
        </pc:spChg>
        <pc:spChg chg="mod">
          <ac:chgData name="Nathalia Teofilo" userId="a133e4ba-ab9f-49ee-af0a-93e33fb61143" providerId="ADAL" clId="{2BD92D59-C5ED-42A1-B30C-EFBD6F65C4E3}" dt="2024-03-05T20:58:57.192" v="1177" actId="790"/>
          <ac:spMkLst>
            <pc:docMk/>
            <pc:sldMk cId="906068552" sldId="2147470430"/>
            <ac:spMk id="12" creationId="{C549C41B-F169-3551-87EC-0B19DB0B9D8E}"/>
          </ac:spMkLst>
        </pc:spChg>
        <pc:spChg chg="mod">
          <ac:chgData name="Nathalia Teofilo" userId="a133e4ba-ab9f-49ee-af0a-93e33fb61143" providerId="ADAL" clId="{2BD92D59-C5ED-42A1-B30C-EFBD6F65C4E3}" dt="2024-03-05T20:58:57.192" v="1177" actId="790"/>
          <ac:spMkLst>
            <pc:docMk/>
            <pc:sldMk cId="906068552" sldId="2147470430"/>
            <ac:spMk id="13" creationId="{32795562-9597-C904-AC4F-98F64EDB8170}"/>
          </ac:spMkLst>
        </pc:spChg>
        <pc:spChg chg="mod">
          <ac:chgData name="Nathalia Teofilo" userId="a133e4ba-ab9f-49ee-af0a-93e33fb61143" providerId="ADAL" clId="{2BD92D59-C5ED-42A1-B30C-EFBD6F65C4E3}" dt="2024-03-05T20:58:57.192" v="1177" actId="790"/>
          <ac:spMkLst>
            <pc:docMk/>
            <pc:sldMk cId="906068552" sldId="2147470430"/>
            <ac:spMk id="14" creationId="{E2974C5C-0723-80EB-3B0E-6FC035A84F80}"/>
          </ac:spMkLst>
        </pc:spChg>
        <pc:spChg chg="mod">
          <ac:chgData name="Nathalia Teofilo" userId="a133e4ba-ab9f-49ee-af0a-93e33fb61143" providerId="ADAL" clId="{2BD92D59-C5ED-42A1-B30C-EFBD6F65C4E3}" dt="2024-03-05T20:58:57.192" v="1177" actId="790"/>
          <ac:spMkLst>
            <pc:docMk/>
            <pc:sldMk cId="906068552" sldId="2147470430"/>
            <ac:spMk id="15" creationId="{5627BAF6-22BB-C4A5-90B9-130F51724B08}"/>
          </ac:spMkLst>
        </pc:spChg>
        <pc:spChg chg="mod">
          <ac:chgData name="Nathalia Teofilo" userId="a133e4ba-ab9f-49ee-af0a-93e33fb61143" providerId="ADAL" clId="{2BD92D59-C5ED-42A1-B30C-EFBD6F65C4E3}" dt="2024-03-05T20:58:57.192" v="1177" actId="790"/>
          <ac:spMkLst>
            <pc:docMk/>
            <pc:sldMk cId="906068552" sldId="2147470430"/>
            <ac:spMk id="21" creationId="{7EC210F8-E0A0-54F8-F882-85A822FDC3CA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Nathalia Teofilo" userId="a133e4ba-ab9f-49ee-af0a-93e33fb61143" providerId="ADAL" clId="{2BD92D59-C5ED-42A1-B30C-EFBD6F65C4E3}" dt="2024-03-05T19:49:52.473" v="483"/>
              <pc2:cmMkLst xmlns:pc2="http://schemas.microsoft.com/office/powerpoint/2019/9/main/command">
                <pc:docMk/>
                <pc:sldMk cId="906068552" sldId="2147470430"/>
                <pc2:cmMk id="{AC690B1D-7C36-40C8-9FFE-F7BE134EA9E9}"/>
              </pc2:cmMkLst>
            </pc226:cmChg>
          </p:ext>
        </pc:ext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6218096" cy="496630"/>
          </a:xfrm>
          <a:prstGeom prst="rect">
            <a:avLst/>
          </a:prstGeom>
        </p:spPr>
        <p:txBody>
          <a:bodyPr vert="horz" lIns="140013" tIns="70006" rIns="140013" bIns="70006" rtlCol="0"/>
          <a:lstStyle>
            <a:lvl1pPr algn="l">
              <a:defRPr sz="18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8129547" y="1"/>
            <a:ext cx="6218096" cy="496630"/>
          </a:xfrm>
          <a:prstGeom prst="rect">
            <a:avLst/>
          </a:prstGeom>
        </p:spPr>
        <p:txBody>
          <a:bodyPr vert="horz" lIns="140013" tIns="70006" rIns="140013" bIns="70006" rtlCol="0"/>
          <a:lstStyle>
            <a:lvl1pPr algn="r">
              <a:defRPr sz="1800"/>
            </a:lvl1pPr>
          </a:lstStyle>
          <a:p>
            <a:fld id="{EE5FC34F-EEB8-43C6-9BFB-B9E8AAE4154C}" type="datetimeFigureOut">
              <a:rPr lang="en-US" smtClean="0"/>
              <a:t>3/6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198938" y="1239838"/>
            <a:ext cx="5953125" cy="33480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40013" tIns="70006" rIns="140013" bIns="7000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434431" y="4773549"/>
            <a:ext cx="11482144" cy="3905314"/>
          </a:xfrm>
          <a:prstGeom prst="rect">
            <a:avLst/>
          </a:prstGeom>
        </p:spPr>
        <p:txBody>
          <a:bodyPr vert="horz" lIns="140013" tIns="70006" rIns="140013" bIns="7000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422071"/>
            <a:ext cx="6218096" cy="496630"/>
          </a:xfrm>
          <a:prstGeom prst="rect">
            <a:avLst/>
          </a:prstGeom>
        </p:spPr>
        <p:txBody>
          <a:bodyPr vert="horz" lIns="140013" tIns="70006" rIns="140013" bIns="70006" rtlCol="0" anchor="b"/>
          <a:lstStyle>
            <a:lvl1pPr algn="l">
              <a:defRPr sz="18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8129547" y="9422071"/>
            <a:ext cx="6218096" cy="496630"/>
          </a:xfrm>
          <a:prstGeom prst="rect">
            <a:avLst/>
          </a:prstGeom>
        </p:spPr>
        <p:txBody>
          <a:bodyPr vert="horz" lIns="140013" tIns="70006" rIns="140013" bIns="70006" rtlCol="0" anchor="b"/>
          <a:lstStyle>
            <a:lvl1pPr algn="r">
              <a:defRPr sz="1800"/>
            </a:lvl1pPr>
          </a:lstStyle>
          <a:p>
            <a:fld id="{BD077DB4-3938-4958-8DEA-D648A09397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80049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Deutsche Börse Group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F281821B-9323-4468-A4A2-A786705D1F60}" type="datetime1">
              <a:rPr lang="en-US" smtClean="0"/>
              <a:t>3/6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689DB8B-FD84-473E-8D2A-AD8FDE25B74C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5753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63550" y="1016000"/>
            <a:ext cx="5853113" cy="32940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>
              <a:latin typeface="+mj-lt"/>
              <a:cs typeface="Arial"/>
            </a:endParaRP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69C17888-8498-4462-8D93-030891CF5DB5}"/>
              </a:ext>
            </a:extLst>
          </p:cNvPr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1CA6BE-B668-43BF-AD94-236A3F9C25D6}" type="datetime1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/6/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DD02D2EE-E13A-496C-963F-4E76C759DCB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tle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27CBFC7B-6651-4932-9FC9-CD6CBEE8B33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89DB8B-FD84-473E-8D2A-AD8FDE25B74C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Kopfzeilenplatzhalter 10">
            <a:extLst>
              <a:ext uri="{FF2B5EF4-FFF2-40B4-BE49-F238E27FC236}">
                <a16:creationId xmlns:a16="http://schemas.microsoft.com/office/drawing/2014/main" id="{8F33672C-32CB-4798-9C2D-7D0283E3B15E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utsche Börse Group</a:t>
            </a:r>
          </a:p>
        </p:txBody>
      </p:sp>
    </p:spTree>
    <p:extLst>
      <p:ext uri="{BB962C8B-B14F-4D97-AF65-F5344CB8AC3E}">
        <p14:creationId xmlns:p14="http://schemas.microsoft.com/office/powerpoint/2010/main" val="17110534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70338" y="1111250"/>
            <a:ext cx="6405562" cy="3603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63EDC13-BA5E-44E2-992C-9EB32BB5270A}"/>
              </a:ext>
            </a:extLst>
          </p:cNvPr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pPr defTabSz="1400129">
              <a:defRPr/>
            </a:pPr>
            <a:fld id="{98E42272-639A-4F72-B129-4ED301F4DF1A}" type="datetime1">
              <a:rPr lang="en-US" sz="1500">
                <a:solidFill>
                  <a:srgbClr val="666666"/>
                </a:solidFill>
                <a:latin typeface="Arial"/>
              </a:rPr>
              <a:pPr defTabSz="1400129">
                <a:defRPr/>
              </a:pPr>
              <a:t>3/6/2024</a:t>
            </a:fld>
            <a:endParaRPr lang="en-US" sz="1500">
              <a:solidFill>
                <a:srgbClr val="666666"/>
              </a:solidFill>
              <a:latin typeface="Arial"/>
            </a:endParaRP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CAC66B78-452A-4E8E-833C-C00892C4D12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1400129">
              <a:defRPr/>
            </a:pPr>
            <a:r>
              <a:rPr lang="en-US" sz="1500">
                <a:solidFill>
                  <a:srgbClr val="666666"/>
                </a:solidFill>
                <a:latin typeface="Arial"/>
              </a:rPr>
              <a:t>Title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94814331-F54F-4AA0-84CF-01444A427C9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1400129">
              <a:defRPr/>
            </a:pPr>
            <a:fld id="{0689DB8B-FD84-473E-8D2A-AD8FDE25B74C}" type="slidenum">
              <a:rPr lang="en-US" sz="1500">
                <a:solidFill>
                  <a:srgbClr val="666666"/>
                </a:solidFill>
                <a:latin typeface="Arial"/>
              </a:rPr>
              <a:pPr defTabSz="1400129">
                <a:defRPr/>
              </a:pPr>
              <a:t>4</a:t>
            </a:fld>
            <a:endParaRPr lang="en-US" sz="1500">
              <a:solidFill>
                <a:srgbClr val="666666"/>
              </a:solidFill>
              <a:latin typeface="Arial"/>
            </a:endParaRPr>
          </a:p>
        </p:txBody>
      </p:sp>
      <p:sp>
        <p:nvSpPr>
          <p:cNvPr id="11" name="Kopfzeilenplatzhalter 10">
            <a:extLst>
              <a:ext uri="{FF2B5EF4-FFF2-40B4-BE49-F238E27FC236}">
                <a16:creationId xmlns:a16="http://schemas.microsoft.com/office/drawing/2014/main" id="{37FF68B6-0F4F-4693-9DF0-54C37F3392DF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defTabSz="1400129">
              <a:defRPr/>
            </a:pPr>
            <a:r>
              <a:rPr lang="en-US" sz="1500">
                <a:solidFill>
                  <a:srgbClr val="666666"/>
                </a:solidFill>
                <a:latin typeface="Arial"/>
              </a:rPr>
              <a:t>Deutsche Börse Group</a:t>
            </a:r>
          </a:p>
        </p:txBody>
      </p:sp>
    </p:spTree>
    <p:extLst>
      <p:ext uri="{BB962C8B-B14F-4D97-AF65-F5344CB8AC3E}">
        <p14:creationId xmlns:p14="http://schemas.microsoft.com/office/powerpoint/2010/main" val="31570750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70338" y="1111250"/>
            <a:ext cx="6405562" cy="3603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63EDC13-BA5E-44E2-992C-9EB32BB5270A}"/>
              </a:ext>
            </a:extLst>
          </p:cNvPr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pPr defTabSz="1400129">
              <a:defRPr/>
            </a:pPr>
            <a:fld id="{98E42272-639A-4F72-B129-4ED301F4DF1A}" type="datetime1">
              <a:rPr lang="en-US" sz="1500">
                <a:solidFill>
                  <a:srgbClr val="666666"/>
                </a:solidFill>
                <a:latin typeface="Arial"/>
              </a:rPr>
              <a:pPr defTabSz="1400129">
                <a:defRPr/>
              </a:pPr>
              <a:t>3/6/2024</a:t>
            </a:fld>
            <a:endParaRPr lang="en-US" sz="1500">
              <a:solidFill>
                <a:srgbClr val="666666"/>
              </a:solidFill>
              <a:latin typeface="Arial"/>
            </a:endParaRP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CAC66B78-452A-4E8E-833C-C00892C4D12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1400129">
              <a:defRPr/>
            </a:pPr>
            <a:r>
              <a:rPr lang="en-US" sz="1500">
                <a:solidFill>
                  <a:srgbClr val="666666"/>
                </a:solidFill>
                <a:latin typeface="Arial"/>
              </a:rPr>
              <a:t>Title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94814331-F54F-4AA0-84CF-01444A427C9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1400129">
              <a:defRPr/>
            </a:pPr>
            <a:fld id="{0689DB8B-FD84-473E-8D2A-AD8FDE25B74C}" type="slidenum">
              <a:rPr lang="en-US" sz="1500">
                <a:solidFill>
                  <a:srgbClr val="666666"/>
                </a:solidFill>
                <a:latin typeface="Arial"/>
              </a:rPr>
              <a:pPr defTabSz="1400129">
                <a:defRPr/>
              </a:pPr>
              <a:t>5</a:t>
            </a:fld>
            <a:endParaRPr lang="en-US" sz="1500">
              <a:solidFill>
                <a:srgbClr val="666666"/>
              </a:solidFill>
              <a:latin typeface="Arial"/>
            </a:endParaRPr>
          </a:p>
        </p:txBody>
      </p:sp>
      <p:sp>
        <p:nvSpPr>
          <p:cNvPr id="11" name="Kopfzeilenplatzhalter 10">
            <a:extLst>
              <a:ext uri="{FF2B5EF4-FFF2-40B4-BE49-F238E27FC236}">
                <a16:creationId xmlns:a16="http://schemas.microsoft.com/office/drawing/2014/main" id="{37FF68B6-0F4F-4693-9DF0-54C37F3392DF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defTabSz="1400129">
              <a:defRPr/>
            </a:pPr>
            <a:r>
              <a:rPr lang="en-US" sz="1500">
                <a:solidFill>
                  <a:srgbClr val="666666"/>
                </a:solidFill>
                <a:latin typeface="Arial"/>
              </a:rPr>
              <a:t>Deutsche Börse Group</a:t>
            </a:r>
          </a:p>
        </p:txBody>
      </p:sp>
    </p:spTree>
    <p:extLst>
      <p:ext uri="{BB962C8B-B14F-4D97-AF65-F5344CB8AC3E}">
        <p14:creationId xmlns:p14="http://schemas.microsoft.com/office/powerpoint/2010/main" val="25664420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Deutsche Börse Group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F281821B-9323-4468-A4A2-A786705D1F60}" type="datetime1">
              <a:rPr lang="en-US" smtClean="0"/>
              <a:t>3/6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Tit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689DB8B-FD84-473E-8D2A-AD8FDE25B74C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72791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5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5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5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5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15.emf"/><Relationship Id="rId4" Type="http://schemas.openxmlformats.org/officeDocument/2006/relationships/image" Target="../media/image5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2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11.jpe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2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| Ou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4BEAD5F2-747E-41AF-BC6A-51FD86687F5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2856000" y="2908276"/>
            <a:ext cx="6480000" cy="1041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03584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left |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699DFD9-25B7-4BE0-9032-0205108027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6563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58" progId="TCLayout.ActiveDocument.1">
                  <p:embed/>
                </p:oleObj>
              </mc:Choice>
              <mc:Fallback>
                <p:oleObj name="think-cell Folie" r:id="rId3" imgW="359" imgH="35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699DFD9-25B7-4BE0-9032-0205108027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A43C8737-CA51-4148-81DC-F9C80508A1B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2"/>
          </a:solidFill>
        </p:spPr>
        <p:txBody>
          <a:bodyPr lIns="6912000" tIns="0" rIns="1368000" anchor="ctr" anchorCtr="0"/>
          <a:lstStyle>
            <a:lvl1pPr>
              <a:defRPr sz="1200">
                <a:solidFill>
                  <a:schemeClr val="accent4"/>
                </a:solidFill>
              </a:defRPr>
            </a:lvl1pPr>
            <a:lvl2pPr marL="0" indent="0">
              <a:buFontTx/>
              <a:buNone/>
              <a:defRPr sz="1200"/>
            </a:lvl2pPr>
            <a:lvl3pPr marL="0" indent="0">
              <a:buFontTx/>
              <a:buNone/>
              <a:defRPr sz="1200"/>
            </a:lvl3pPr>
            <a:lvl4pPr marL="0" indent="0">
              <a:buFontTx/>
              <a:buNone/>
              <a:tabLst/>
              <a:defRPr sz="1200"/>
            </a:lvl4pPr>
            <a:lvl5pPr marL="0" indent="0">
              <a:buFontTx/>
              <a:buNone/>
              <a:defRPr sz="1200"/>
            </a:lvl5pPr>
            <a:lvl6pPr marL="0" indent="0">
              <a:buFontTx/>
              <a:buNone/>
              <a:defRPr sz="1200"/>
            </a:lvl6pPr>
            <a:lvl7pPr marL="0" indent="0">
              <a:buFontTx/>
              <a:buNone/>
              <a:defRPr sz="1200"/>
            </a:lvl7pPr>
            <a:lvl8pPr marL="0" indent="0">
              <a:buFontTx/>
              <a:buNone/>
              <a:defRPr sz="1200"/>
            </a:lvl8pPr>
            <a:lvl9pPr marL="0" indent="0">
              <a:buFontTx/>
              <a:buNone/>
              <a:defRPr sz="1200"/>
            </a:lvl9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F63CF737-36F6-441D-B92C-EC5D22B3B1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88" y="5787300"/>
            <a:ext cx="2127600" cy="342000"/>
          </a:xfrm>
          <a:prstGeom prst="rect">
            <a:avLst/>
          </a:prstGeo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 </a:t>
            </a: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0B56861E-14AD-46E2-ABEF-F27C3628500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90949" y="1340768"/>
            <a:ext cx="7272896" cy="1512168"/>
          </a:xfrm>
        </p:spPr>
        <p:txBody>
          <a:bodyPr vert="horz" anchor="t" anchorCtr="0"/>
          <a:lstStyle>
            <a:lvl1pPr algn="l">
              <a:lnSpc>
                <a:spcPct val="100000"/>
              </a:lnSpc>
              <a:spcBef>
                <a:spcPts val="0"/>
              </a:spcBef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GB" noProof="0"/>
              <a:t>Presentation </a:t>
            </a:r>
            <a:br>
              <a:rPr lang="en-GB" noProof="0"/>
            </a:br>
            <a:r>
              <a:rPr lang="en-GB" noProof="0"/>
              <a:t>Title</a:t>
            </a:r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E6AD8C72-018C-4BD6-A7A6-5999612434A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90949" y="3098172"/>
            <a:ext cx="5401233" cy="720080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n-lt"/>
                <a:cs typeface="Abadi MT Condensed Extra Bold"/>
              </a:defRPr>
            </a:lvl1pPr>
            <a:lvl2pPr marL="0" indent="0" algn="l">
              <a:spcAft>
                <a:spcPts val="0"/>
              </a:spcAft>
              <a:buNone/>
              <a:defRPr sz="2400"/>
            </a:lvl2pPr>
            <a:lvl3pPr marL="0" indent="0" algn="l">
              <a:spcAft>
                <a:spcPts val="0"/>
              </a:spcAft>
              <a:buNone/>
              <a:defRPr sz="2400"/>
            </a:lvl3pPr>
            <a:lvl4pPr marL="0" indent="0" algn="l">
              <a:spcAft>
                <a:spcPts val="0"/>
              </a:spcAft>
              <a:buNone/>
              <a:defRPr sz="2400"/>
            </a:lvl4pPr>
            <a:lvl5pPr marL="0" indent="0" algn="l">
              <a:spcAft>
                <a:spcPts val="0"/>
              </a:spcAft>
              <a:buNone/>
              <a:defRPr sz="2400"/>
            </a:lvl5pPr>
            <a:lvl6pPr marL="0" indent="0" algn="l">
              <a:spcAft>
                <a:spcPts val="0"/>
              </a:spcAft>
              <a:buNone/>
              <a:defRPr sz="2400"/>
            </a:lvl6pPr>
            <a:lvl7pPr marL="0" indent="0" algn="l">
              <a:spcAft>
                <a:spcPts val="0"/>
              </a:spcAft>
              <a:buNone/>
              <a:defRPr sz="2400"/>
            </a:lvl7pPr>
            <a:lvl8pPr marL="0" indent="0" algn="l">
              <a:spcAft>
                <a:spcPts val="0"/>
              </a:spcAft>
              <a:buNone/>
              <a:defRPr sz="2400"/>
            </a:lvl8pPr>
            <a:lvl9pPr marL="0" indent="0" algn="l">
              <a:spcAft>
                <a:spcPts val="0"/>
              </a:spcAft>
              <a:buNone/>
              <a:defRPr sz="2400"/>
            </a:lvl9pPr>
          </a:lstStyle>
          <a:p>
            <a:r>
              <a:rPr lang="en-GB" noProof="0"/>
              <a:t>Subtitle</a:t>
            </a:r>
          </a:p>
        </p:txBody>
      </p:sp>
      <p:sp>
        <p:nvSpPr>
          <p:cNvPr id="10" name="Datumsplatzhalter 24">
            <a:extLst>
              <a:ext uri="{FF2B5EF4-FFF2-40B4-BE49-F238E27FC236}">
                <a16:creationId xmlns:a16="http://schemas.microsoft.com/office/drawing/2014/main" id="{8D360B2C-CC91-4F38-A3C3-C91528777F0B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603483" y="3919472"/>
            <a:ext cx="3529571" cy="697660"/>
          </a:xfrm>
        </p:spPr>
        <p:txBody>
          <a:bodyPr anchor="t"/>
          <a:lstStyle>
            <a:lvl1pPr marL="0" algn="l"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defRPr sz="1400"/>
            </a:lvl2pPr>
            <a:lvl3pPr marL="0">
              <a:lnSpc>
                <a:spcPct val="100000"/>
              </a:lnSpc>
              <a:defRPr sz="1400"/>
            </a:lvl3pPr>
            <a:lvl4pPr marL="0">
              <a:lnSpc>
                <a:spcPct val="100000"/>
              </a:lnSpc>
              <a:defRPr sz="1400"/>
            </a:lvl4pPr>
            <a:lvl5pPr marL="0">
              <a:lnSpc>
                <a:spcPct val="100000"/>
              </a:lnSpc>
              <a:defRPr sz="1400"/>
            </a:lvl5pPr>
            <a:lvl6pPr marL="0">
              <a:lnSpc>
                <a:spcPct val="100000"/>
              </a:lnSpc>
              <a:defRPr sz="1400"/>
            </a:lvl6pPr>
            <a:lvl7pPr marL="0">
              <a:lnSpc>
                <a:spcPct val="100000"/>
              </a:lnSpc>
              <a:defRPr sz="1400"/>
            </a:lvl7pPr>
            <a:lvl8pPr marL="0">
              <a:lnSpc>
                <a:spcPct val="100000"/>
              </a:lnSpc>
              <a:defRPr sz="1400"/>
            </a:lvl8pPr>
            <a:lvl9pPr marL="0">
              <a:lnSpc>
                <a:spcPct val="100000"/>
              </a:lnSpc>
              <a:defRPr sz="1400"/>
            </a:lvl9pPr>
          </a:lstStyle>
          <a:p>
            <a:fld id="{02294F5D-6B29-4538-A254-7B683D5DA4DC}" type="datetime1">
              <a:rPr lang="en-US"/>
              <a:pPr/>
              <a:t>3/6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8896767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FC76ECB-32CB-400C-8363-6129F9AFE8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58" progId="TCLayout.ActiveDocument.1">
                  <p:embed/>
                </p:oleObj>
              </mc:Choice>
              <mc:Fallback>
                <p:oleObj name="think-cell Folie" r:id="rId3" imgW="359" imgH="35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FC76ECB-32CB-400C-8363-6129F9AFE8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520C82C-C608-4908-8693-7A25B3D09F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GB" noProof="0"/>
              <a:t>Click to add title</a:t>
            </a:r>
          </a:p>
        </p:txBody>
      </p:sp>
      <p:sp>
        <p:nvSpPr>
          <p:cNvPr id="12" name="Content Placeholder 1">
            <a:extLst>
              <a:ext uri="{FF2B5EF4-FFF2-40B4-BE49-F238E27FC236}">
                <a16:creationId xmlns:a16="http://schemas.microsoft.com/office/drawing/2014/main" id="{16AD052E-8012-4835-9892-599D5CAFCC84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 bwMode="gray">
          <a:xfrm>
            <a:off x="587374" y="1916584"/>
            <a:ext cx="3529014" cy="4213225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4"/>
            <a:endParaRPr lang="en-GB" noProof="0"/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C4E953B2-D72D-4578-939D-BC8A4FF7FE17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 bwMode="gray">
          <a:xfrm>
            <a:off x="8075613" y="1916113"/>
            <a:ext cx="3528999" cy="4213225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4"/>
            <a:endParaRPr lang="en-GB" noProof="0"/>
          </a:p>
        </p:txBody>
      </p:sp>
      <p:sp>
        <p:nvSpPr>
          <p:cNvPr id="11" name="Content Placeholder 1">
            <a:extLst>
              <a:ext uri="{FF2B5EF4-FFF2-40B4-BE49-F238E27FC236}">
                <a16:creationId xmlns:a16="http://schemas.microsoft.com/office/drawing/2014/main" id="{8F94276C-FF43-433B-8FDC-C87F7B8A3A3E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 bwMode="gray">
          <a:xfrm>
            <a:off x="4332289" y="1916584"/>
            <a:ext cx="3527424" cy="4213225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4"/>
            <a:endParaRPr lang="en-GB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6A35E5A-B454-4B24-A414-65722C43591D}"/>
              </a:ext>
            </a:extLst>
          </p:cNvPr>
          <p:cNvSpPr>
            <a:spLocks noGrp="1"/>
          </p:cNvSpPr>
          <p:nvPr>
            <p:ph type="dt" sz="half" idx="25"/>
          </p:nvPr>
        </p:nvSpPr>
        <p:spPr bwMode="gray"/>
        <p:txBody>
          <a:bodyPr/>
          <a:lstStyle/>
          <a:p>
            <a:fld id="{5145C6A8-8AC8-4B33-A658-4EA7C8DE12B3}" type="datetime1">
              <a:rPr lang="en-GB"/>
              <a:pPr/>
              <a:t>06/03/2024</a:t>
            </a:fld>
            <a:endParaRPr lang="en-GB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B82906B0-826B-4802-AB57-FEA612A14A5A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 bwMode="gray"/>
        <p:txBody>
          <a:bodyPr/>
          <a:lstStyle/>
          <a:p>
            <a:r>
              <a:rPr lang="en-GB"/>
              <a:t>Clearstream | Deutsche Börse Group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D1429482-32B6-41C3-8AAB-6B1D238FF0EC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 bwMode="gray"/>
        <p:txBody>
          <a:bodyPr/>
          <a:lstStyle/>
          <a:p>
            <a:fld id="{672C9EDE-4A13-4E4A-9EAA-A59A97CC9CE2}" type="slidenum">
              <a:rPr lang="en-GB" noProof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14840852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2729">
          <p15:clr>
            <a:srgbClr val="F26B43"/>
          </p15:clr>
        </p15:guide>
        <p15:guide id="2" pos="2593">
          <p15:clr>
            <a:srgbClr val="F26B43"/>
          </p15:clr>
        </p15:guide>
        <p15:guide id="3" pos="4951">
          <p15:clr>
            <a:srgbClr val="F26B43"/>
          </p15:clr>
        </p15:guide>
        <p15:guide id="4" pos="5087">
          <p15:clr>
            <a:srgbClr val="F26B43"/>
          </p15:clr>
        </p15:guide>
        <p15:guide id="5" orient="horz" pos="1071">
          <p15:clr>
            <a:srgbClr val="F26B43"/>
          </p15:clr>
        </p15:guide>
        <p15:guide id="6" orient="horz" pos="3861">
          <p15:clr>
            <a:srgbClr val="F26B43"/>
          </p15:clr>
        </p15:guide>
        <p15:guide id="7" pos="370">
          <p15:clr>
            <a:srgbClr val="F26B43"/>
          </p15:clr>
        </p15:guide>
        <p15:guide id="8" pos="7310">
          <p15:clr>
            <a:srgbClr val="F26B43"/>
          </p15:clr>
        </p15:guide>
        <p15:guide id="9" orient="horz" pos="232">
          <p15:clr>
            <a:srgbClr val="F26B43"/>
          </p15:clr>
        </p15:guide>
        <p15:guide id="10" orient="horz" pos="935">
          <p15:clr>
            <a:srgbClr val="F26B43"/>
          </p15:clr>
        </p15:guide>
        <p15:guide id="11" orient="horz" pos="1207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F7D2DB-FED3-5482-155C-776381172C7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ED2B778-9B48-DA25-86D8-ED5C1FC15A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F577E05-A582-2EE7-9FA7-7E078350F2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66FFD-824A-4EBD-B9B7-460EDF7125E9}" type="datetimeFigureOut">
              <a:rPr lang="en-US" smtClean="0"/>
              <a:t>3/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43BC55-3FB3-F678-A4AF-AAF763E787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87E5D2-1A46-4174-A55D-A20741706B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0B5908-DCCC-4E07-AD35-52FF61E188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358688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E714025-380E-4F46-B9C8-59C7A765CE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5048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58" progId="TCLayout.ActiveDocument.1">
                  <p:embed/>
                </p:oleObj>
              </mc:Choice>
              <mc:Fallback>
                <p:oleObj name="think-cell Folie" r:id="rId3" imgW="359" imgH="35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E714025-380E-4F46-B9C8-59C7A765CE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520C82C-C608-4908-8693-7A25B3D09F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GB" noProof="0"/>
              <a:t>Click to add titl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EE23947-AAD7-46F5-90B9-637E2F2B78B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F415C9-C25A-478D-93EE-A7D1B7F1D688}" type="datetime1">
              <a:rPr lang="en-US"/>
              <a:pPr/>
              <a:t>3/6/2024</a:t>
            </a:fld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43478842-0AA7-46BF-800F-296796A0E7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GB">
                <a:solidFill>
                  <a:schemeClr val="accent4"/>
                </a:solidFill>
              </a:rPr>
              <a:t>Clearstream | Deutsche Börse Group</a:t>
            </a:r>
            <a:endParaRPr lang="en-GB" noProof="0">
              <a:solidFill>
                <a:schemeClr val="accent4"/>
              </a:solidFill>
            </a:endParaRP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650C6F3-DAE8-4445-83E1-2FACDB9D19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672C9EDE-4A13-4E4A-9EAA-A59A97CC9CE2}" type="slidenum">
              <a:rPr lang="en-GB" noProof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55314022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4" pos="7310">
          <p15:clr>
            <a:srgbClr val="F26B43"/>
          </p15:clr>
        </p15:guide>
        <p15:guide id="7" pos="370">
          <p15:clr>
            <a:srgbClr val="F26B43"/>
          </p15:clr>
        </p15:guide>
        <p15:guide id="8" orient="horz" pos="1071">
          <p15:clr>
            <a:srgbClr val="F26B43"/>
          </p15:clr>
        </p15:guide>
        <p15:guide id="9" orient="horz" pos="3861">
          <p15:clr>
            <a:srgbClr val="F26B43"/>
          </p15:clr>
        </p15:guide>
        <p15:guide id="10" orient="horz" pos="232">
          <p15:clr>
            <a:srgbClr val="F26B43"/>
          </p15:clr>
        </p15:guide>
        <p15:guide id="11" orient="horz" pos="935">
          <p15:clr>
            <a:srgbClr val="F26B43"/>
          </p15:clr>
        </p15:guide>
        <p15:guide id="12" orient="horz" pos="1207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reen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8F0D79F-D9E1-4CA4-84E3-A324EB94C3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58" progId="TCLayout.ActiveDocument.1">
                  <p:embed/>
                </p:oleObj>
              </mc:Choice>
              <mc:Fallback>
                <p:oleObj name="think-cell Slide" r:id="rId3" imgW="359" imgH="35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8F0D79F-D9E1-4CA4-84E3-A324EB94C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E15B24A-8235-4E59-8E30-65A9F2F3E68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2747628" y="2132856"/>
            <a:ext cx="4896544" cy="2754306"/>
          </a:xfrm>
          <a:solidFill>
            <a:schemeClr val="bg2"/>
          </a:solidFill>
        </p:spPr>
        <p:txBody>
          <a:bodyPr/>
          <a:lstStyle>
            <a:lvl1pPr rtl="0"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7" name="MIO_VALID_LAYOUT">
            <a:extLst>
              <a:ext uri="{FF2B5EF4-FFF2-40B4-BE49-F238E27FC236}">
                <a16:creationId xmlns:a16="http://schemas.microsoft.com/office/drawing/2014/main" id="{5AA293F3-CFE1-47F6-B8BD-3D9D0C7A6E16}"/>
              </a:ext>
            </a:extLst>
          </p:cNvPr>
          <p:cNvSpPr/>
          <p:nvPr/>
        </p:nvSpPr>
        <p:spPr bwMode="gray">
          <a:xfrm>
            <a:off x="11744853" y="6586858"/>
            <a:ext cx="447147" cy="26082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rtl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GB" sz="1600" kern="0">
              <a:solidFill>
                <a:schemeClr val="accent4"/>
              </a:solidFill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64ADE2B-2B3D-4FEA-891D-6033FFA8B6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F95C18B5-84D8-4154-8070-8904A8F8D0CF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>
          <a:xfrm>
            <a:off x="8861412" y="6381352"/>
            <a:ext cx="2743200" cy="2160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EC3F818C-7FD6-4934-A609-726FC894C442}" type="datetime1">
              <a:rPr lang="en-US" smtClean="0"/>
              <a:pPr/>
              <a:t>3/6/2024</a:t>
            </a:fld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134250FF-0746-4F94-9FB9-22B0580363A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>
            <a:lvl1pPr rtl="0">
              <a:defRPr/>
            </a:lvl1pPr>
          </a:lstStyle>
          <a:p>
            <a:fld id="{62CB3E74-FC4B-418A-B5F6-72ED80208EB2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0F17036C-98B5-4219-80CA-20986B8D39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587388" y="6381352"/>
            <a:ext cx="1896353" cy="138499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GB"/>
              <a:t>Group Advisory Board</a:t>
            </a:r>
          </a:p>
        </p:txBody>
      </p:sp>
    </p:spTree>
    <p:extLst>
      <p:ext uri="{BB962C8B-B14F-4D97-AF65-F5344CB8AC3E}">
        <p14:creationId xmlns:p14="http://schemas.microsoft.com/office/powerpoint/2010/main" val="816662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370">
          <p15:clr>
            <a:srgbClr val="F26B43"/>
          </p15:clr>
        </p15:guide>
        <p15:guide id="10" pos="7310">
          <p15:clr>
            <a:srgbClr val="F26B43"/>
          </p15:clr>
        </p15:guide>
        <p15:guide id="12" orient="horz" pos="3861">
          <p15:clr>
            <a:srgbClr val="F26B43"/>
          </p15:clr>
        </p15:guide>
        <p15:guide id="13" orient="horz" pos="107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000" b="1" i="0">
                <a:solidFill>
                  <a:srgbClr val="00A4C0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800" b="1" i="0">
                <a:solidFill>
                  <a:srgbClr val="666666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6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900" b="0" i="0">
                <a:solidFill>
                  <a:srgbClr val="666666"/>
                </a:solidFill>
                <a:latin typeface="Trebuchet MS"/>
                <a:cs typeface="Trebuchet MS"/>
              </a:defRPr>
            </a:lvl1pPr>
          </a:lstStyle>
          <a:p>
            <a:pPr marL="69850">
              <a:lnSpc>
                <a:spcPct val="100000"/>
              </a:lnSpc>
              <a:spcBef>
                <a:spcPts val="15"/>
              </a:spcBef>
            </a:pPr>
            <a:fld id="{81D60167-4931-47E6-BA6A-407CBD079E47}" type="slidenum">
              <a:rPr spc="-5" dirty="0">
                <a:latin typeface="Arial"/>
                <a:cs typeface="Arial"/>
              </a:rPr>
              <a:t>‹#›</a:t>
            </a:fld>
            <a:endParaRPr spc="-5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794247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acts |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C6DE9DE-F2F9-4FDA-8FA3-8BF1AF2503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58" progId="TCLayout.ActiveDocument.1">
                  <p:embed/>
                </p:oleObj>
              </mc:Choice>
              <mc:Fallback>
                <p:oleObj name="think-cell Folie" r:id="rId3" imgW="359" imgH="35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8C6DE9DE-F2F9-4FDA-8FA3-8BF1AF2503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CA7ED93-264F-4FB5-815D-4481CAD4A5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87375" y="728700"/>
            <a:ext cx="5400669" cy="719783"/>
          </a:xfrm>
        </p:spPr>
        <p:txBody>
          <a:bodyPr vert="horz" bIns="0" anchor="b" anchorCtr="0"/>
          <a:lstStyle>
            <a:lvl1pPr algn="l">
              <a:defRPr sz="4300">
                <a:solidFill>
                  <a:schemeClr val="accent1"/>
                </a:solidFill>
              </a:defRPr>
            </a:lvl1pPr>
          </a:lstStyle>
          <a:p>
            <a:r>
              <a:rPr lang="en-GB" noProof="0"/>
              <a:t>Contact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608446A-11B3-4DB8-BD2F-089747ACC3FD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731404" y="5625301"/>
            <a:ext cx="2743267" cy="503999"/>
          </a:xfrm>
          <a:prstGeom prst="rect">
            <a:avLst/>
          </a:prstGeom>
        </p:spPr>
      </p:pic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5B0ABBEB-0D17-4549-8CD5-306502D0904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75" y="1916113"/>
            <a:ext cx="5400675" cy="2989261"/>
          </a:xfrm>
        </p:spPr>
        <p:txBody>
          <a:bodyPr/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</a:defRPr>
            </a:lvl1pPr>
            <a:lvl2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 b="0">
                <a:solidFill>
                  <a:schemeClr val="accent1"/>
                </a:solidFill>
              </a:defRPr>
            </a:lvl2pPr>
            <a:lvl3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3pPr>
            <a:lvl4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4pPr>
            <a:lvl5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5pPr>
            <a:lvl6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6pPr>
            <a:lvl7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7pPr>
            <a:lvl8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8pPr>
            <a:lvl9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D28366E5-48C1-48F5-9172-04DA025F086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03949" y="1916113"/>
            <a:ext cx="5400675" cy="2989261"/>
          </a:xfrm>
        </p:spPr>
        <p:txBody>
          <a:bodyPr/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</a:defRPr>
            </a:lvl1pPr>
            <a:lvl2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 b="0">
                <a:solidFill>
                  <a:schemeClr val="accent1"/>
                </a:solidFill>
              </a:defRPr>
            </a:lvl2pPr>
            <a:lvl3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3pPr>
            <a:lvl4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4pPr>
            <a:lvl5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5pPr>
            <a:lvl6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6pPr>
            <a:lvl7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7pPr>
            <a:lvl8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8pPr>
            <a:lvl9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E3D536B8-F180-792D-1170-7716535DB1B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87388" y="6381353"/>
            <a:ext cx="2484276" cy="215999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learstream / Deutsche </a:t>
            </a:r>
            <a:r>
              <a:rPr kumimoji="0" lang="en-US" sz="900" b="0" i="0" u="none" strike="noStrike" kern="1200" cap="none" spc="0" normalizeH="0" baseline="0" noProof="0" err="1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oerse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Group</a:t>
            </a:r>
          </a:p>
        </p:txBody>
      </p:sp>
    </p:spTree>
    <p:extLst>
      <p:ext uri="{BB962C8B-B14F-4D97-AF65-F5344CB8AC3E}">
        <p14:creationId xmlns:p14="http://schemas.microsoft.com/office/powerpoint/2010/main" val="8061338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772">
          <p15:clr>
            <a:srgbClr val="F26B43"/>
          </p15:clr>
        </p15:guide>
        <p15:guide id="14" pos="370">
          <p15:clr>
            <a:srgbClr val="F26B43"/>
          </p15:clr>
        </p15:guide>
        <p15:guide id="15" pos="7310">
          <p15:clr>
            <a:srgbClr val="F26B43"/>
          </p15:clr>
        </p15:guide>
        <p15:guide id="16" pos="3908">
          <p15:clr>
            <a:srgbClr val="F26B43"/>
          </p15:clr>
        </p15:guide>
        <p15:guide id="17" orient="horz" pos="459">
          <p15:clr>
            <a:srgbClr val="F26B43"/>
          </p15:clr>
        </p15:guide>
        <p15:guide id="18" orient="horz" pos="3090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Title with Str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 descr="Ein Bild, das Text, Himmel enthält.&#10;&#10;Automatisch generierte Beschreibung">
            <a:extLst>
              <a:ext uri="{FF2B5EF4-FFF2-40B4-BE49-F238E27FC236}">
                <a16:creationId xmlns:a16="http://schemas.microsoft.com/office/drawing/2014/main" id="{602845E3-42BA-1658-0ACE-A25A1AF868B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62608"/>
          </a:xfrm>
          <a:prstGeom prst="rect">
            <a:avLst/>
          </a:prstGeom>
        </p:spPr>
      </p:pic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B02C6AB-5E2F-4DB1-87F5-C644FB7D30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000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B02C6AB-5E2F-4DB1-87F5-C644FB7D30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7E9D9C54-8802-C389-BFCB-50235581279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2063552" y="368300"/>
            <a:ext cx="2592288" cy="416626"/>
          </a:xfrm>
          <a:prstGeom prst="rect">
            <a:avLst/>
          </a:prstGeo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2E1FB14A-9D45-4F94-C220-49890EC154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88" y="3717032"/>
            <a:ext cx="5364596" cy="1296144"/>
          </a:xfrm>
        </p:spPr>
        <p:txBody>
          <a:bodyPr/>
          <a:lstStyle>
            <a:lvl1pPr>
              <a:lnSpc>
                <a:spcPct val="100000"/>
              </a:lnSpc>
              <a:defRPr sz="4300" b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8400A5E-DBAE-142C-336D-3ACA7174A54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7375" y="5157192"/>
            <a:ext cx="5437188" cy="432048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2653352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Title with Str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602845E3-42BA-1658-0ACE-A25A1AF868B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62608"/>
          </a:xfrm>
          <a:prstGeom prst="rect">
            <a:avLst/>
          </a:prstGeom>
        </p:spPr>
      </p:pic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B02C6AB-5E2F-4DB1-87F5-C644FB7D30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000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B02C6AB-5E2F-4DB1-87F5-C644FB7D30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6B43F6B5-3B96-DDAC-C2F4-FBAA1C44245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2063552" y="368300"/>
            <a:ext cx="2592288" cy="416626"/>
          </a:xfrm>
          <a:prstGeom prst="rect">
            <a:avLst/>
          </a:prstGeo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6190EAC2-9B1D-2057-9E4C-0A0B022C7B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88" y="3717032"/>
            <a:ext cx="5364596" cy="1296144"/>
          </a:xfrm>
        </p:spPr>
        <p:txBody>
          <a:bodyPr/>
          <a:lstStyle>
            <a:lvl1pPr>
              <a:lnSpc>
                <a:spcPct val="100000"/>
              </a:lnSpc>
              <a:defRPr sz="4300" b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F19FE710-447E-2D58-122B-1335C0D860B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7375" y="5157192"/>
            <a:ext cx="5437188" cy="432048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311361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Title with Str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602845E3-42BA-1658-0ACE-A25A1AF868B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B02C6AB-5E2F-4DB1-87F5-C644FB7D30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000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B02C6AB-5E2F-4DB1-87F5-C644FB7D30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DE991783-1FD6-9A16-78CC-B16EFDAA38F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2063552" y="368300"/>
            <a:ext cx="2592288" cy="416626"/>
          </a:xfrm>
          <a:prstGeom prst="rect">
            <a:avLst/>
          </a:prstGeom>
        </p:spPr>
      </p:pic>
      <p:sp>
        <p:nvSpPr>
          <p:cNvPr id="6" name="Titel 4">
            <a:extLst>
              <a:ext uri="{FF2B5EF4-FFF2-40B4-BE49-F238E27FC236}">
                <a16:creationId xmlns:a16="http://schemas.microsoft.com/office/drawing/2014/main" id="{F02C2041-74E2-218A-100D-1C001D4F82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88" y="3717032"/>
            <a:ext cx="5364596" cy="1296144"/>
          </a:xfrm>
        </p:spPr>
        <p:txBody>
          <a:bodyPr/>
          <a:lstStyle>
            <a:lvl1pPr>
              <a:lnSpc>
                <a:spcPct val="100000"/>
              </a:lnSpc>
              <a:defRPr sz="4300" b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A43413BC-3C57-D3E4-D610-7526BD15527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7375" y="5157192"/>
            <a:ext cx="5437188" cy="432048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299211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Title with Str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602845E3-42BA-1658-0ACE-A25A1AF868B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B02C6AB-5E2F-4DB1-87F5-C644FB7D30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000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B02C6AB-5E2F-4DB1-87F5-C644FB7D30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4966F88D-5937-34DB-1892-CC9B171DB14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9039414" y="368300"/>
            <a:ext cx="2574829" cy="413820"/>
          </a:xfrm>
          <a:prstGeom prst="rect">
            <a:avLst/>
          </a:prstGeom>
        </p:spPr>
      </p:pic>
      <p:sp>
        <p:nvSpPr>
          <p:cNvPr id="3" name="Titel 4">
            <a:extLst>
              <a:ext uri="{FF2B5EF4-FFF2-40B4-BE49-F238E27FC236}">
                <a16:creationId xmlns:a16="http://schemas.microsoft.com/office/drawing/2014/main" id="{931AA41D-C03C-D9BB-BED9-46A20AE2E8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88" y="3717032"/>
            <a:ext cx="5364596" cy="1296144"/>
          </a:xfrm>
        </p:spPr>
        <p:txBody>
          <a:bodyPr/>
          <a:lstStyle>
            <a:lvl1pPr>
              <a:lnSpc>
                <a:spcPct val="100000"/>
              </a:lnSpc>
              <a:defRPr sz="4300" b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42F916CC-74E7-C02D-18E4-A28D4DBC0DD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7375" y="5157192"/>
            <a:ext cx="5437188" cy="432048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197281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Title with Str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602845E3-42BA-1658-0ACE-A25A1AF868B1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B02C6AB-5E2F-4DB1-87F5-C644FB7D30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2000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9" imgH="358" progId="TCLayout.ActiveDocument.1">
                  <p:embed/>
                </p:oleObj>
              </mc:Choice>
              <mc:Fallback>
                <p:oleObj name="think-cell Folie" r:id="rId5" imgW="359" imgH="35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B02C6AB-5E2F-4DB1-87F5-C644FB7D30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DB986243-2F6B-E40E-6E7C-65DC0182E33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9039414" y="368300"/>
            <a:ext cx="2574829" cy="413820"/>
          </a:xfrm>
          <a:prstGeom prst="rect">
            <a:avLst/>
          </a:prstGeom>
        </p:spPr>
      </p:pic>
      <p:sp>
        <p:nvSpPr>
          <p:cNvPr id="6" name="Titel 4">
            <a:extLst>
              <a:ext uri="{FF2B5EF4-FFF2-40B4-BE49-F238E27FC236}">
                <a16:creationId xmlns:a16="http://schemas.microsoft.com/office/drawing/2014/main" id="{E0193E83-7183-0C73-F161-5FE4975C30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88" y="3717032"/>
            <a:ext cx="5364596" cy="1296144"/>
          </a:xfrm>
        </p:spPr>
        <p:txBody>
          <a:bodyPr/>
          <a:lstStyle>
            <a:lvl1pPr>
              <a:lnSpc>
                <a:spcPct val="100000"/>
              </a:lnSpc>
              <a:defRPr sz="4300" b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B12CC1F8-F395-BBB4-EF0D-6AB8464DE83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7375" y="5157192"/>
            <a:ext cx="5437188" cy="432048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633735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-Title with Str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602845E3-42BA-1658-0ACE-A25A1AF868B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B02C6AB-5E2F-4DB1-87F5-C644FB7D30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000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9" imgH="358" progId="TCLayout.ActiveDocument.1">
                  <p:embed/>
                </p:oleObj>
              </mc:Choice>
              <mc:Fallback>
                <p:oleObj name="think-cell Folie" r:id="rId4" imgW="359" imgH="35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B02C6AB-5E2F-4DB1-87F5-C644FB7D30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EB47D4E5-C0BC-59C4-C34E-80B2BBE34E7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2279576" y="377329"/>
            <a:ext cx="2574829" cy="413820"/>
          </a:xfrm>
          <a:prstGeom prst="rect">
            <a:avLst/>
          </a:prstGeom>
        </p:spPr>
      </p:pic>
      <p:sp>
        <p:nvSpPr>
          <p:cNvPr id="6" name="Titel 4">
            <a:extLst>
              <a:ext uri="{FF2B5EF4-FFF2-40B4-BE49-F238E27FC236}">
                <a16:creationId xmlns:a16="http://schemas.microsoft.com/office/drawing/2014/main" id="{3A439EB9-B15F-D0F8-59ED-E2F48EB942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88" y="3717032"/>
            <a:ext cx="5364596" cy="1296144"/>
          </a:xfrm>
        </p:spPr>
        <p:txBody>
          <a:bodyPr/>
          <a:lstStyle>
            <a:lvl1pPr>
              <a:lnSpc>
                <a:spcPct val="100000"/>
              </a:lnSpc>
              <a:defRPr sz="4300" b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13D24052-CFCF-0AC0-5B2B-EBB683EE41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7375" y="5157192"/>
            <a:ext cx="5437188" cy="432048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171784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3FB6B354-D26F-4CA3-8423-CEC7A748C45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00381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58" progId="TCLayout.ActiveDocument.1">
                  <p:embed/>
                </p:oleObj>
              </mc:Choice>
              <mc:Fallback>
                <p:oleObj name="think-cell Folie" r:id="rId3" imgW="359" imgH="35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3FB6B354-D26F-4CA3-8423-CEC7A748C4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520C82C-C608-4908-8693-7A25B3D09F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GB" noProof="0"/>
              <a:t>Click to add title</a:t>
            </a:r>
          </a:p>
        </p:txBody>
      </p:sp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E60B3DF5-A017-44F8-B089-C048DCA50147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587376" y="1916113"/>
            <a:ext cx="11017250" cy="4213225"/>
          </a:xfrm>
        </p:spPr>
        <p:txBody>
          <a:bodyPr/>
          <a:lstStyle>
            <a:lvl2pPr>
              <a:defRPr/>
            </a:lvl2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2B3D16E-414A-4060-BC94-84535C0165F6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81B96FCD-C3E6-4675-AC9B-87FF4583B04D}" type="datetime1">
              <a:rPr lang="en-GB"/>
              <a:t>06/03/2024</a:t>
            </a:fld>
            <a:endParaRPr lang="en-GB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3CC806EC-DFB2-43BD-A821-744770D5D3A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GB"/>
              <a:t>Clearstream | Deutsche Börse Group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60D78AD3-49B2-42FE-A559-BEA23650DF0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672C9EDE-4A13-4E4A-9EAA-A59A97CC9CE2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12346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7310">
          <p15:clr>
            <a:srgbClr val="F26B43"/>
          </p15:clr>
        </p15:guide>
        <p15:guide id="3" pos="370">
          <p15:clr>
            <a:srgbClr val="F26B43"/>
          </p15:clr>
        </p15:guide>
        <p15:guide id="6" orient="horz" pos="232">
          <p15:clr>
            <a:srgbClr val="F26B43"/>
          </p15:clr>
        </p15:guide>
        <p15:guide id="8" orient="horz" pos="935">
          <p15:clr>
            <a:srgbClr val="F26B43"/>
          </p15:clr>
        </p15:guide>
        <p15:guide id="9" orient="horz" pos="3861">
          <p15:clr>
            <a:srgbClr val="F26B43"/>
          </p15:clr>
        </p15:guide>
        <p15:guide id="10" orient="horz" pos="1207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|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DB1F12-780B-4457-92FE-697C82B261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8636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58" progId="TCLayout.ActiveDocument.1">
                  <p:embed/>
                </p:oleObj>
              </mc:Choice>
              <mc:Fallback>
                <p:oleObj name="think-cell Folie" r:id="rId3" imgW="359" imgH="35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DB1F12-780B-4457-92FE-697C82B261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1">
            <a:extLst>
              <a:ext uri="{FF2B5EF4-FFF2-40B4-BE49-F238E27FC236}">
                <a16:creationId xmlns:a16="http://schemas.microsoft.com/office/drawing/2014/main" id="{ED78BDF4-D19E-42DE-B03D-842CAB4E0EF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90318" y="1340768"/>
            <a:ext cx="7272896" cy="1512168"/>
          </a:xfrm>
        </p:spPr>
        <p:txBody>
          <a:bodyPr vert="horz" anchor="t" anchorCtr="0"/>
          <a:lstStyle>
            <a:lvl1pPr algn="l">
              <a:lnSpc>
                <a:spcPct val="100000"/>
              </a:lnSpc>
              <a:spcBef>
                <a:spcPts val="0"/>
              </a:spcBef>
              <a:defRPr sz="4300" b="1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Presentation </a:t>
            </a:r>
            <a:br>
              <a:rPr lang="en-GB" noProof="0"/>
            </a:br>
            <a:r>
              <a:rPr lang="en-GB" noProof="0"/>
              <a:t>Title</a:t>
            </a:r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B0255F2F-02B4-4535-B2A0-1D1446A0ADD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90318" y="3098172"/>
            <a:ext cx="5401233" cy="720080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n-lt"/>
                <a:cs typeface="Abadi MT Condensed Extra Bold"/>
              </a:defRPr>
            </a:lvl1pPr>
            <a:lvl2pPr marL="0" indent="0" algn="l">
              <a:spcAft>
                <a:spcPts val="0"/>
              </a:spcAft>
              <a:buNone/>
              <a:defRPr sz="2400"/>
            </a:lvl2pPr>
            <a:lvl3pPr marL="0" indent="0" algn="l">
              <a:spcAft>
                <a:spcPts val="0"/>
              </a:spcAft>
              <a:buNone/>
              <a:defRPr sz="2400"/>
            </a:lvl3pPr>
            <a:lvl4pPr marL="0" indent="0" algn="l">
              <a:spcAft>
                <a:spcPts val="0"/>
              </a:spcAft>
              <a:buNone/>
              <a:defRPr sz="2400"/>
            </a:lvl4pPr>
            <a:lvl5pPr marL="0" indent="0" algn="l">
              <a:spcAft>
                <a:spcPts val="0"/>
              </a:spcAft>
              <a:buNone/>
              <a:defRPr sz="2400"/>
            </a:lvl5pPr>
            <a:lvl6pPr marL="0" indent="0" algn="l">
              <a:spcAft>
                <a:spcPts val="0"/>
              </a:spcAft>
              <a:buNone/>
              <a:defRPr sz="2400"/>
            </a:lvl6pPr>
            <a:lvl7pPr marL="0" indent="0" algn="l">
              <a:spcAft>
                <a:spcPts val="0"/>
              </a:spcAft>
              <a:buNone/>
              <a:defRPr sz="2400"/>
            </a:lvl7pPr>
            <a:lvl8pPr marL="0" indent="0" algn="l">
              <a:spcAft>
                <a:spcPts val="0"/>
              </a:spcAft>
              <a:buNone/>
              <a:defRPr sz="2400"/>
            </a:lvl8pPr>
            <a:lvl9pPr marL="0" indent="0" algn="l">
              <a:spcAft>
                <a:spcPts val="0"/>
              </a:spcAft>
              <a:buNone/>
              <a:defRPr sz="2400"/>
            </a:lvl9pPr>
          </a:lstStyle>
          <a:p>
            <a:r>
              <a:rPr lang="en-GB" noProof="0"/>
              <a:t>Subtitle</a:t>
            </a:r>
          </a:p>
        </p:txBody>
      </p:sp>
      <p:sp>
        <p:nvSpPr>
          <p:cNvPr id="9" name="Datumsplatzhalter 24">
            <a:extLst>
              <a:ext uri="{FF2B5EF4-FFF2-40B4-BE49-F238E27FC236}">
                <a16:creationId xmlns:a16="http://schemas.microsoft.com/office/drawing/2014/main" id="{80D1C763-2B8F-441F-9A03-9467E1680469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602852" y="3919472"/>
            <a:ext cx="3529571" cy="589648"/>
          </a:xfrm>
        </p:spPr>
        <p:txBody>
          <a:bodyPr anchor="t"/>
          <a:lstStyle>
            <a:lvl1pPr marL="0" algn="l"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defRPr sz="1400"/>
            </a:lvl2pPr>
            <a:lvl3pPr marL="0">
              <a:lnSpc>
                <a:spcPct val="100000"/>
              </a:lnSpc>
              <a:defRPr sz="1400"/>
            </a:lvl3pPr>
            <a:lvl4pPr marL="0">
              <a:lnSpc>
                <a:spcPct val="100000"/>
              </a:lnSpc>
              <a:defRPr sz="1400"/>
            </a:lvl4pPr>
            <a:lvl5pPr marL="0">
              <a:lnSpc>
                <a:spcPct val="100000"/>
              </a:lnSpc>
              <a:defRPr sz="1400"/>
            </a:lvl5pPr>
            <a:lvl6pPr marL="0">
              <a:lnSpc>
                <a:spcPct val="100000"/>
              </a:lnSpc>
              <a:defRPr sz="1400"/>
            </a:lvl6pPr>
            <a:lvl7pPr marL="0">
              <a:lnSpc>
                <a:spcPct val="100000"/>
              </a:lnSpc>
              <a:defRPr sz="1400"/>
            </a:lvl7pPr>
            <a:lvl8pPr marL="0">
              <a:lnSpc>
                <a:spcPct val="100000"/>
              </a:lnSpc>
              <a:defRPr sz="1400"/>
            </a:lvl8pPr>
            <a:lvl9pPr marL="0">
              <a:lnSpc>
                <a:spcPct val="100000"/>
              </a:lnSpc>
              <a:defRPr sz="1400"/>
            </a:lvl9pPr>
          </a:lstStyle>
          <a:p>
            <a:fld id="{B15378BC-5548-4667-93C0-DD9D697C838A}" type="datetimeFigureOut">
              <a:rPr lang="en-US"/>
              <a:t>3/6/2024</a:t>
            </a:fld>
            <a:endParaRPr lang="en-US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C31D9EF6-C0B2-4932-9F2F-7EBCEF7B3161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gray">
          <a:xfrm>
            <a:off x="587388" y="5787300"/>
            <a:ext cx="2127958" cy="34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59809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419F596-05E3-44AB-BEC2-525D3E5EB60E}"/>
              </a:ext>
            </a:extLst>
          </p:cNvPr>
          <p:cNvCxnSpPr/>
          <p:nvPr/>
        </p:nvCxnSpPr>
        <p:spPr bwMode="gray">
          <a:xfrm>
            <a:off x="4331804" y="-171000"/>
            <a:ext cx="0" cy="7200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B6FAE3F-DF50-4F5D-A33B-7F9644FD4086}"/>
              </a:ext>
            </a:extLst>
          </p:cNvPr>
          <p:cNvCxnSpPr>
            <a:cxnSpLocks/>
          </p:cNvCxnSpPr>
          <p:nvPr/>
        </p:nvCxnSpPr>
        <p:spPr bwMode="gray">
          <a:xfrm>
            <a:off x="11604626" y="-171000"/>
            <a:ext cx="0" cy="72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8558267-B187-4531-BCCC-F83FA4CAA964}"/>
              </a:ext>
            </a:extLst>
          </p:cNvPr>
          <p:cNvCxnSpPr/>
          <p:nvPr/>
        </p:nvCxnSpPr>
        <p:spPr bwMode="gray">
          <a:xfrm>
            <a:off x="6204012" y="-171000"/>
            <a:ext cx="0" cy="72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9766BB2-DB3D-4AE7-85BC-A9F0D2529F08}"/>
              </a:ext>
            </a:extLst>
          </p:cNvPr>
          <p:cNvCxnSpPr/>
          <p:nvPr/>
        </p:nvCxnSpPr>
        <p:spPr bwMode="gray">
          <a:xfrm>
            <a:off x="4115780" y="-171000"/>
            <a:ext cx="0" cy="7200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E3C6509-678A-481D-AC02-D2722AEAE8EE}"/>
              </a:ext>
            </a:extLst>
          </p:cNvPr>
          <p:cNvCxnSpPr/>
          <p:nvPr/>
        </p:nvCxnSpPr>
        <p:spPr bwMode="gray">
          <a:xfrm>
            <a:off x="8076220" y="-171000"/>
            <a:ext cx="0" cy="7200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F0331AD-31BE-48EC-A28C-7312CB5C917B}"/>
              </a:ext>
            </a:extLst>
          </p:cNvPr>
          <p:cNvCxnSpPr/>
          <p:nvPr/>
        </p:nvCxnSpPr>
        <p:spPr bwMode="gray">
          <a:xfrm>
            <a:off x="7860196" y="-171000"/>
            <a:ext cx="0" cy="7200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2F1F113-7125-4472-895A-085A88F45A97}"/>
              </a:ext>
            </a:extLst>
          </p:cNvPr>
          <p:cNvCxnSpPr/>
          <p:nvPr/>
        </p:nvCxnSpPr>
        <p:spPr bwMode="gray">
          <a:xfrm>
            <a:off x="-168000" y="6129300"/>
            <a:ext cx="72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C0A000A-F87F-4C42-A9AA-20CAD0E07E37}"/>
              </a:ext>
            </a:extLst>
          </p:cNvPr>
          <p:cNvCxnSpPr/>
          <p:nvPr/>
        </p:nvCxnSpPr>
        <p:spPr bwMode="gray">
          <a:xfrm>
            <a:off x="-168000" y="1700808"/>
            <a:ext cx="72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6B9062C-1B9D-42DC-9F72-885BC17B7A30}"/>
              </a:ext>
            </a:extLst>
          </p:cNvPr>
          <p:cNvCxnSpPr/>
          <p:nvPr/>
        </p:nvCxnSpPr>
        <p:spPr bwMode="gray">
          <a:xfrm>
            <a:off x="-168000" y="368660"/>
            <a:ext cx="72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16B3DF8-8E73-4629-8416-3164F44999CE}"/>
              </a:ext>
            </a:extLst>
          </p:cNvPr>
          <p:cNvCxnSpPr>
            <a:cxnSpLocks/>
          </p:cNvCxnSpPr>
          <p:nvPr/>
        </p:nvCxnSpPr>
        <p:spPr bwMode="gray">
          <a:xfrm>
            <a:off x="587375" y="-171000"/>
            <a:ext cx="0" cy="72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2ADCE2D-DC10-46C8-AEC3-E40ACA3C27FF}"/>
              </a:ext>
            </a:extLst>
          </p:cNvPr>
          <p:cNvCxnSpPr/>
          <p:nvPr/>
        </p:nvCxnSpPr>
        <p:spPr bwMode="gray">
          <a:xfrm>
            <a:off x="5987988" y="-171000"/>
            <a:ext cx="0" cy="72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A89E88-C154-435E-8232-5EB90B965D97}"/>
              </a:ext>
            </a:extLst>
          </p:cNvPr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011927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1" imgW="286" imgH="286" progId="TCLayout.ActiveDocument.1">
                  <p:embed/>
                </p:oleObj>
              </mc:Choice>
              <mc:Fallback>
                <p:oleObj name="think-cell Folie" r:id="rId21" imgW="286" imgH="28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A89E88-C154-435E-8232-5EB90B965D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D63CA78-0FB3-48B5-A9D7-A04CC8D648A5}"/>
              </a:ext>
            </a:extLst>
          </p:cNvPr>
          <p:cNvSpPr/>
          <p:nvPr>
            <p:custDataLst>
              <p:tags r:id="rId19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buFontTx/>
              <a:buNone/>
            </a:pPr>
            <a:endParaRPr lang="en-US" sz="3000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9AB26C2F-D9F3-400B-A4CB-4A13AFC3507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87388" y="368300"/>
            <a:ext cx="11017224" cy="934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5F1E4DB-B8AA-4767-B630-DDDF47F8E9BA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587388" y="1916112"/>
            <a:ext cx="11017224" cy="421322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err="1"/>
              <a:t>Mastertext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5" name="empower - DO NOT DELETE!!!" hidden="1">
            <a:extLst>
              <a:ext uri="{FF2B5EF4-FFF2-40B4-BE49-F238E27FC236}">
                <a16:creationId xmlns:a16="http://schemas.microsoft.com/office/drawing/2014/main" id="{EBB2EE60-53AE-47EF-9F98-08E3D8665809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solidFill>
            <a:schemeClr val="tx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3" name="MSIPCMContentMarking" descr="{&quot;HashCode&quot;:442047029,&quot;Placement&quot;:&quot;Footer&quot;,&quot;Top&quot;:519.343,&quot;Left&quot;:453.295349,&quot;SlideWidth&quot;:960,&quot;SlideHeight&quot;:540}">
            <a:extLst>
              <a:ext uri="{FF2B5EF4-FFF2-40B4-BE49-F238E27FC236}">
                <a16:creationId xmlns:a16="http://schemas.microsoft.com/office/drawing/2014/main" id="{9E1E866A-F452-4705-83EB-833A7E98217A}"/>
              </a:ext>
            </a:extLst>
          </p:cNvPr>
          <p:cNvSpPr txBox="1"/>
          <p:nvPr/>
        </p:nvSpPr>
        <p:spPr>
          <a:xfrm>
            <a:off x="5756851" y="6595656"/>
            <a:ext cx="678298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marL="0" indent="0" algn="ctr"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Internal</a:t>
            </a:r>
          </a:p>
        </p:txBody>
      </p:sp>
      <p:sp>
        <p:nvSpPr>
          <p:cNvPr id="22" name="Datumsplatzhalter 5">
            <a:extLst>
              <a:ext uri="{FF2B5EF4-FFF2-40B4-BE49-F238E27FC236}">
                <a16:creationId xmlns:a16="http://schemas.microsoft.com/office/drawing/2014/main" id="{7D269058-5EB7-5E49-625A-4B9BC52E31F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9221773" y="6381352"/>
            <a:ext cx="2382839" cy="216000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678CC8BF-720B-4F20-9B1C-1F94C4C8A65A}" type="datetime1">
              <a:rPr lang="en-US" smtClean="0"/>
              <a:pPr/>
              <a:t>3/6/2024</a:t>
            </a:fld>
            <a:endParaRPr lang="en-US"/>
          </a:p>
        </p:txBody>
      </p:sp>
      <p:sp>
        <p:nvSpPr>
          <p:cNvPr id="24" name="Fußzeilenplatzhalter 6">
            <a:extLst>
              <a:ext uri="{FF2B5EF4-FFF2-40B4-BE49-F238E27FC236}">
                <a16:creationId xmlns:a16="http://schemas.microsoft.com/office/drawing/2014/main" id="{C445C972-594C-637E-5F83-D672C180F2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587388" y="6381353"/>
            <a:ext cx="2484276" cy="215999"/>
          </a:xfrm>
          <a:prstGeom prst="rect">
            <a:avLst/>
          </a:prstGeom>
        </p:spPr>
        <p:txBody>
          <a:bodyPr l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5" name="Foliennummernplatzhalter 8">
            <a:extLst>
              <a:ext uri="{FF2B5EF4-FFF2-40B4-BE49-F238E27FC236}">
                <a16:creationId xmlns:a16="http://schemas.microsoft.com/office/drawing/2014/main" id="{9FB2B16C-379A-9657-8123-6DC05F25F7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806768" y="6381352"/>
            <a:ext cx="576064" cy="216000"/>
          </a:xfrm>
          <a:prstGeom prst="rect">
            <a:avLst/>
          </a:prstGeom>
        </p:spPr>
        <p:txBody>
          <a:bodyPr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fld id="{672C9EDE-4A13-4E4A-9EAA-A59A97CC9CE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4703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72" r:id="rId2"/>
    <p:sldLayoutId id="2147483773" r:id="rId3"/>
    <p:sldLayoutId id="2147483774" r:id="rId4"/>
    <p:sldLayoutId id="2147483775" r:id="rId5"/>
    <p:sldLayoutId id="2147483776" r:id="rId6"/>
    <p:sldLayoutId id="2147483777" r:id="rId7"/>
    <p:sldLayoutId id="2147483779" r:id="rId8"/>
    <p:sldLayoutId id="2147483782" r:id="rId9"/>
    <p:sldLayoutId id="2147483783" r:id="rId10"/>
    <p:sldLayoutId id="2147483822" r:id="rId11"/>
    <p:sldLayoutId id="2147483823" r:id="rId12"/>
    <p:sldLayoutId id="2147483824" r:id="rId13"/>
    <p:sldLayoutId id="2147483825" r:id="rId14"/>
    <p:sldLayoutId id="2147483826" r:id="rId15"/>
    <p:sldLayoutId id="2147483827" r:id="rId16"/>
  </p:sldLayoutIdLst>
  <p:hf hdr="0" dt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3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864000" indent="-2160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370">
          <p15:clr>
            <a:srgbClr val="F26B43"/>
          </p15:clr>
        </p15:guide>
        <p15:guide id="3" pos="7310">
          <p15:clr>
            <a:srgbClr val="F26B43"/>
          </p15:clr>
        </p15:guide>
        <p15:guide id="4" orient="horz" pos="3861">
          <p15:clr>
            <a:srgbClr val="F26B43"/>
          </p15:clr>
        </p15:guide>
        <p15:guide id="5" orient="horz" pos="1207">
          <p15:clr>
            <a:srgbClr val="F26B43"/>
          </p15:clr>
        </p15:guide>
        <p15:guide id="6" orient="horz" pos="935">
          <p15:clr>
            <a:srgbClr val="F26B43"/>
          </p15:clr>
        </p15:guide>
        <p15:guide id="7" orient="horz" pos="23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22.xml"/><Relationship Id="rId7" Type="http://schemas.openxmlformats.org/officeDocument/2006/relationships/slideLayout" Target="../slideLayouts/slideLayout8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10" Type="http://schemas.openxmlformats.org/officeDocument/2006/relationships/image" Target="../media/image5.emf"/><Relationship Id="rId4" Type="http://schemas.openxmlformats.org/officeDocument/2006/relationships/tags" Target="../tags/tag23.xml"/><Relationship Id="rId9" Type="http://schemas.openxmlformats.org/officeDocument/2006/relationships/oleObject" Target="../embeddings/oleObject15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28.xml"/><Relationship Id="rId7" Type="http://schemas.openxmlformats.org/officeDocument/2006/relationships/image" Target="../media/image5.emf"/><Relationship Id="rId12" Type="http://schemas.openxmlformats.org/officeDocument/2006/relationships/image" Target="../media/image20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oleObject" Target="../embeddings/oleObject16.bin"/><Relationship Id="rId11" Type="http://schemas.openxmlformats.org/officeDocument/2006/relationships/image" Target="../media/image19.pn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18.png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31.xml"/><Relationship Id="rId7" Type="http://schemas.openxmlformats.org/officeDocument/2006/relationships/image" Target="../media/image5.emf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1057247B-0A14-439E-FEAC-94167F3206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88" y="3717032"/>
            <a:ext cx="8455012" cy="1296144"/>
          </a:xfrm>
        </p:spPr>
        <p:txBody>
          <a:bodyPr/>
          <a:lstStyle/>
          <a:p>
            <a:r>
              <a:rPr lang="es-419" dirty="0">
                <a:cs typeface="Arial"/>
              </a:rPr>
              <a:t>ACSDA: Asamblea General 2024</a:t>
            </a:r>
            <a:br>
              <a:rPr lang="es-419" dirty="0">
                <a:cs typeface="Arial"/>
              </a:rPr>
            </a:br>
            <a:r>
              <a:rPr lang="es-419" dirty="0">
                <a:cs typeface="Arial"/>
              </a:rPr>
              <a:t>Parcerías en el mercado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091640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">
            <a:extLst>
              <a:ext uri="{FF2B5EF4-FFF2-40B4-BE49-F238E27FC236}">
                <a16:creationId xmlns:a16="http://schemas.microsoft.com/office/drawing/2014/main" id="{80BB1A20-854F-45E7-9C19-8D491B4AA253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 wrap="square">
            <a:noAutofit/>
          </a:bodyPr>
          <a:lstStyle/>
          <a:p>
            <a:r>
              <a:rPr lang="es-419" dirty="0"/>
              <a:t>Tendencias significativas en la futura industria de post-negociacion</a:t>
            </a:r>
          </a:p>
        </p:txBody>
      </p:sp>
      <p:graphicFrame>
        <p:nvGraphicFramePr>
          <p:cNvPr id="4" name="Table 5">
            <a:extLst>
              <a:ext uri="{FF2B5EF4-FFF2-40B4-BE49-F238E27FC236}">
                <a16:creationId xmlns:a16="http://schemas.microsoft.com/office/drawing/2014/main" id="{FF18EE13-4240-455C-8D03-FBB2A2C27705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3002697776"/>
              </p:ext>
            </p:extLst>
          </p:nvPr>
        </p:nvGraphicFramePr>
        <p:xfrm>
          <a:off x="2170397" y="1490562"/>
          <a:ext cx="7344832" cy="4645026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3672416">
                  <a:extLst>
                    <a:ext uri="{9D8B030D-6E8A-4147-A177-3AD203B41FA5}">
                      <a16:colId xmlns:a16="http://schemas.microsoft.com/office/drawing/2014/main" val="4111588182"/>
                    </a:ext>
                  </a:extLst>
                </a:gridCol>
                <a:gridCol w="3672416">
                  <a:extLst>
                    <a:ext uri="{9D8B030D-6E8A-4147-A177-3AD203B41FA5}">
                      <a16:colId xmlns:a16="http://schemas.microsoft.com/office/drawing/2014/main" val="4093775732"/>
                    </a:ext>
                  </a:extLst>
                </a:gridCol>
              </a:tblGrid>
              <a:tr h="2322513"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es-419" sz="1800" b="1" noProof="0" dirty="0">
                          <a:solidFill>
                            <a:schemeClr val="tx1"/>
                          </a:solidFill>
                        </a:rPr>
                        <a:t>Crecimiento del ritmo de la disrupción tecnológica</a:t>
                      </a:r>
                      <a:endParaRPr lang="es-419" sz="1600" b="0" noProof="0" dirty="0">
                        <a:solidFill>
                          <a:schemeClr val="tx1"/>
                        </a:solidFill>
                      </a:endParaRPr>
                    </a:p>
                  </a:txBody>
                  <a:tcPr marT="128016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419" sz="1800" b="1" noProof="0" dirty="0">
                          <a:solidFill>
                            <a:schemeClr val="tx1"/>
                          </a:solidFill>
                        </a:rPr>
                        <a:t>Mas presión financiera requiere escala y capacidad tecnológica</a:t>
                      </a:r>
                      <a:endParaRPr lang="es-419" sz="1600" b="0" noProof="0" dirty="0">
                        <a:solidFill>
                          <a:schemeClr val="tx1"/>
                        </a:solidFill>
                      </a:endParaRPr>
                    </a:p>
                  </a:txBody>
                  <a:tcPr marT="1280160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3163880"/>
                  </a:ext>
                </a:extLst>
              </a:tr>
              <a:tr h="2322513">
                <a:tc>
                  <a:txBody>
                    <a:bodyPr/>
                    <a:lstStyle/>
                    <a:p>
                      <a:pPr lvl="0" algn="ctr">
                        <a:spcAft>
                          <a:spcPts val="600"/>
                        </a:spcAft>
                        <a:buNone/>
                      </a:pPr>
                      <a:r>
                        <a:rPr lang="es-419" sz="1800" b="1" i="0" u="none" strike="noStrike" noProof="0" dirty="0">
                          <a:solidFill>
                            <a:schemeClr val="tx1"/>
                          </a:solidFill>
                          <a:latin typeface="Arial"/>
                        </a:rPr>
                        <a:t>Los modelos de negocio DeFi reciben atención regulatoria</a:t>
                      </a:r>
                      <a:endParaRPr lang="es-419" noProof="0" dirty="0"/>
                    </a:p>
                  </a:txBody>
                  <a:tcPr marT="1280160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en-US" sz="1800" b="1" noProof="0" dirty="0">
                          <a:solidFill>
                            <a:schemeClr val="tx1"/>
                          </a:solidFill>
                        </a:rPr>
                        <a:t> </a:t>
                      </a:r>
                      <a:r>
                        <a:rPr lang="es-419" sz="1800" b="1" i="0" u="none" strike="noStrike" noProof="0" dirty="0">
                          <a:solidFill>
                            <a:schemeClr val="tx1"/>
                          </a:solidFill>
                          <a:latin typeface="Arial"/>
                        </a:rPr>
                        <a:t>Asociaciones de la industria para crear eficiencias E2E</a:t>
                      </a:r>
                      <a:endParaRPr lang="es-419" sz="1600" b="0" noProof="0" dirty="0">
                        <a:solidFill>
                          <a:schemeClr val="tx1"/>
                        </a:solidFill>
                      </a:endParaRPr>
                    </a:p>
                  </a:txBody>
                  <a:tcPr marT="1280160">
                    <a:lnL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6290595"/>
                  </a:ext>
                </a:extLst>
              </a:tr>
            </a:tbl>
          </a:graphicData>
        </a:graphic>
      </p:graphicFrame>
      <p:sp>
        <p:nvSpPr>
          <p:cNvPr id="19" name="System">
            <a:extLst>
              <a:ext uri="{FF2B5EF4-FFF2-40B4-BE49-F238E27FC236}">
                <a16:creationId xmlns:a16="http://schemas.microsoft.com/office/drawing/2014/main" id="{77715602-3C1E-48EB-980C-714C776B4759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 bwMode="gray">
          <a:xfrm>
            <a:off x="3611954" y="4024158"/>
            <a:ext cx="836777" cy="731520"/>
          </a:xfrm>
          <a:custGeom>
            <a:avLst/>
            <a:gdLst>
              <a:gd name="connsiteX0" fmla="*/ 416478 w 507556"/>
              <a:gd name="connsiteY0" fmla="*/ 222893 h 443710"/>
              <a:gd name="connsiteX1" fmla="*/ 427756 w 507556"/>
              <a:gd name="connsiteY1" fmla="*/ 217968 h 443710"/>
              <a:gd name="connsiteX2" fmla="*/ 438186 w 507556"/>
              <a:gd name="connsiteY2" fmla="*/ 222045 h 443710"/>
              <a:gd name="connsiteX3" fmla="*/ 439033 w 507556"/>
              <a:gd name="connsiteY3" fmla="*/ 243743 h 443710"/>
              <a:gd name="connsiteX4" fmla="*/ 417326 w 507556"/>
              <a:gd name="connsiteY4" fmla="*/ 244600 h 443710"/>
              <a:gd name="connsiteX5" fmla="*/ 412411 w 507556"/>
              <a:gd name="connsiteY5" fmla="*/ 233922 h 443710"/>
              <a:gd name="connsiteX6" fmla="*/ 416478 w 507556"/>
              <a:gd name="connsiteY6" fmla="*/ 222893 h 443710"/>
              <a:gd name="connsiteX7" fmla="*/ 416478 w 507556"/>
              <a:gd name="connsiteY7" fmla="*/ 222893 h 443710"/>
              <a:gd name="connsiteX8" fmla="*/ 426851 w 507556"/>
              <a:gd name="connsiteY8" fmla="*/ 370330 h 443710"/>
              <a:gd name="connsiteX9" fmla="*/ 427622 w 507556"/>
              <a:gd name="connsiteY9" fmla="*/ 370311 h 443710"/>
              <a:gd name="connsiteX10" fmla="*/ 447025 w 507556"/>
              <a:gd name="connsiteY10" fmla="*/ 388980 h 443710"/>
              <a:gd name="connsiteX11" fmla="*/ 428365 w 507556"/>
              <a:gd name="connsiteY11" fmla="*/ 409173 h 443710"/>
              <a:gd name="connsiteX12" fmla="*/ 414402 w 507556"/>
              <a:gd name="connsiteY12" fmla="*/ 404010 h 443710"/>
              <a:gd name="connsiteX13" fmla="*/ 408172 w 507556"/>
              <a:gd name="connsiteY13" fmla="*/ 390494 h 443710"/>
              <a:gd name="connsiteX14" fmla="*/ 426851 w 507556"/>
              <a:gd name="connsiteY14" fmla="*/ 370330 h 443710"/>
              <a:gd name="connsiteX15" fmla="*/ 426851 w 507556"/>
              <a:gd name="connsiteY15" fmla="*/ 370330 h 443710"/>
              <a:gd name="connsiteX16" fmla="*/ 232246 w 507556"/>
              <a:gd name="connsiteY16" fmla="*/ 233351 h 443710"/>
              <a:gd name="connsiteX17" fmla="*/ 273517 w 507556"/>
              <a:gd name="connsiteY17" fmla="*/ 192108 h 443710"/>
              <a:gd name="connsiteX18" fmla="*/ 314751 w 507556"/>
              <a:gd name="connsiteY18" fmla="*/ 233351 h 443710"/>
              <a:gd name="connsiteX19" fmla="*/ 273517 w 507556"/>
              <a:gd name="connsiteY19" fmla="*/ 274623 h 443710"/>
              <a:gd name="connsiteX20" fmla="*/ 232246 w 507556"/>
              <a:gd name="connsiteY20" fmla="*/ 233351 h 443710"/>
              <a:gd name="connsiteX21" fmla="*/ 232246 w 507556"/>
              <a:gd name="connsiteY21" fmla="*/ 233351 h 443710"/>
              <a:gd name="connsiteX22" fmla="*/ 171124 w 507556"/>
              <a:gd name="connsiteY22" fmla="*/ 338250 h 443710"/>
              <a:gd name="connsiteX23" fmla="*/ 165952 w 507556"/>
              <a:gd name="connsiteY23" fmla="*/ 336335 h 443710"/>
              <a:gd name="connsiteX24" fmla="*/ 163647 w 507556"/>
              <a:gd name="connsiteY24" fmla="*/ 331325 h 443710"/>
              <a:gd name="connsiteX25" fmla="*/ 170562 w 507556"/>
              <a:gd name="connsiteY25" fmla="*/ 323838 h 443710"/>
              <a:gd name="connsiteX26" fmla="*/ 178048 w 507556"/>
              <a:gd name="connsiteY26" fmla="*/ 330763 h 443710"/>
              <a:gd name="connsiteX27" fmla="*/ 171124 w 507556"/>
              <a:gd name="connsiteY27" fmla="*/ 338250 h 443710"/>
              <a:gd name="connsiteX28" fmla="*/ 171124 w 507556"/>
              <a:gd name="connsiteY28" fmla="*/ 338250 h 443710"/>
              <a:gd name="connsiteX29" fmla="*/ 54081 w 507556"/>
              <a:gd name="connsiteY29" fmla="*/ 240038 h 443710"/>
              <a:gd name="connsiteX30" fmla="*/ 46241 w 507556"/>
              <a:gd name="connsiteY30" fmla="*/ 243648 h 443710"/>
              <a:gd name="connsiteX31" fmla="*/ 38145 w 507556"/>
              <a:gd name="connsiteY31" fmla="*/ 240657 h 443710"/>
              <a:gd name="connsiteX32" fmla="*/ 34526 w 507556"/>
              <a:gd name="connsiteY32" fmla="*/ 232808 h 443710"/>
              <a:gd name="connsiteX33" fmla="*/ 37517 w 507556"/>
              <a:gd name="connsiteY33" fmla="*/ 224712 h 443710"/>
              <a:gd name="connsiteX34" fmla="*/ 45365 w 507556"/>
              <a:gd name="connsiteY34" fmla="*/ 221102 h 443710"/>
              <a:gd name="connsiteX35" fmla="*/ 53471 w 507556"/>
              <a:gd name="connsiteY35" fmla="*/ 224093 h 443710"/>
              <a:gd name="connsiteX36" fmla="*/ 54081 w 507556"/>
              <a:gd name="connsiteY36" fmla="*/ 240038 h 443710"/>
              <a:gd name="connsiteX37" fmla="*/ 54081 w 507556"/>
              <a:gd name="connsiteY37" fmla="*/ 240038 h 443710"/>
              <a:gd name="connsiteX38" fmla="*/ 154560 w 507556"/>
              <a:gd name="connsiteY38" fmla="*/ 139844 h 443710"/>
              <a:gd name="connsiteX39" fmla="*/ 137681 w 507556"/>
              <a:gd name="connsiteY39" fmla="*/ 133605 h 443710"/>
              <a:gd name="connsiteX40" fmla="*/ 130147 w 507556"/>
              <a:gd name="connsiteY40" fmla="*/ 117251 h 443710"/>
              <a:gd name="connsiteX41" fmla="*/ 136377 w 507556"/>
              <a:gd name="connsiteY41" fmla="*/ 100382 h 443710"/>
              <a:gd name="connsiteX42" fmla="*/ 152721 w 507556"/>
              <a:gd name="connsiteY42" fmla="*/ 92857 h 443710"/>
              <a:gd name="connsiteX43" fmla="*/ 177144 w 507556"/>
              <a:gd name="connsiteY43" fmla="*/ 115422 h 443710"/>
              <a:gd name="connsiteX44" fmla="*/ 170905 w 507556"/>
              <a:gd name="connsiteY44" fmla="*/ 132310 h 443710"/>
              <a:gd name="connsiteX45" fmla="*/ 154560 w 507556"/>
              <a:gd name="connsiteY45" fmla="*/ 139844 h 443710"/>
              <a:gd name="connsiteX46" fmla="*/ 154560 w 507556"/>
              <a:gd name="connsiteY46" fmla="*/ 139844 h 443710"/>
              <a:gd name="connsiteX47" fmla="*/ 425194 w 507556"/>
              <a:gd name="connsiteY47" fmla="*/ 43384 h 443710"/>
              <a:gd name="connsiteX48" fmla="*/ 444386 w 507556"/>
              <a:gd name="connsiteY48" fmla="*/ 34545 h 443710"/>
              <a:gd name="connsiteX49" fmla="*/ 445482 w 507556"/>
              <a:gd name="connsiteY49" fmla="*/ 34526 h 443710"/>
              <a:gd name="connsiteX50" fmla="*/ 464179 w 507556"/>
              <a:gd name="connsiteY50" fmla="*/ 41860 h 443710"/>
              <a:gd name="connsiteX51" fmla="*/ 473019 w 507556"/>
              <a:gd name="connsiteY51" fmla="*/ 61034 h 443710"/>
              <a:gd name="connsiteX52" fmla="*/ 446530 w 507556"/>
              <a:gd name="connsiteY52" fmla="*/ 89695 h 443710"/>
              <a:gd name="connsiteX53" fmla="*/ 426718 w 507556"/>
              <a:gd name="connsiteY53" fmla="*/ 82370 h 443710"/>
              <a:gd name="connsiteX54" fmla="*/ 417869 w 507556"/>
              <a:gd name="connsiteY54" fmla="*/ 63177 h 443710"/>
              <a:gd name="connsiteX55" fmla="*/ 425194 w 507556"/>
              <a:gd name="connsiteY55" fmla="*/ 43384 h 443710"/>
              <a:gd name="connsiteX56" fmla="*/ 425194 w 507556"/>
              <a:gd name="connsiteY56" fmla="*/ 43384 h 443710"/>
              <a:gd name="connsiteX57" fmla="*/ 336297 w 507556"/>
              <a:gd name="connsiteY57" fmla="*/ 191003 h 443710"/>
              <a:gd name="connsiteX58" fmla="*/ 412040 w 507556"/>
              <a:gd name="connsiteY58" fmla="*/ 114489 h 443710"/>
              <a:gd name="connsiteX59" fmla="*/ 445396 w 507556"/>
              <a:gd name="connsiteY59" fmla="*/ 124252 h 443710"/>
              <a:gd name="connsiteX60" fmla="*/ 447873 w 507556"/>
              <a:gd name="connsiteY60" fmla="*/ 124204 h 443710"/>
              <a:gd name="connsiteX61" fmla="*/ 507509 w 507556"/>
              <a:gd name="connsiteY61" fmla="*/ 59701 h 443710"/>
              <a:gd name="connsiteX62" fmla="*/ 487620 w 507556"/>
              <a:gd name="connsiteY62" fmla="*/ 16524 h 443710"/>
              <a:gd name="connsiteX63" fmla="*/ 443034 w 507556"/>
              <a:gd name="connsiteY63" fmla="*/ 55 h 443710"/>
              <a:gd name="connsiteX64" fmla="*/ 399848 w 507556"/>
              <a:gd name="connsiteY64" fmla="*/ 19943 h 443710"/>
              <a:gd name="connsiteX65" fmla="*/ 383369 w 507556"/>
              <a:gd name="connsiteY65" fmla="*/ 64539 h 443710"/>
              <a:gd name="connsiteX66" fmla="*/ 392008 w 507556"/>
              <a:gd name="connsiteY66" fmla="*/ 93829 h 443710"/>
              <a:gd name="connsiteX67" fmla="*/ 315970 w 507556"/>
              <a:gd name="connsiteY67" fmla="*/ 170648 h 443710"/>
              <a:gd name="connsiteX68" fmla="*/ 273508 w 507556"/>
              <a:gd name="connsiteY68" fmla="*/ 157599 h 443710"/>
              <a:gd name="connsiteX69" fmla="*/ 229817 w 507556"/>
              <a:gd name="connsiteY69" fmla="*/ 171515 h 443710"/>
              <a:gd name="connsiteX70" fmla="*/ 203661 w 507556"/>
              <a:gd name="connsiteY70" fmla="*/ 145778 h 443710"/>
              <a:gd name="connsiteX71" fmla="*/ 211643 w 507556"/>
              <a:gd name="connsiteY71" fmla="*/ 114098 h 443710"/>
              <a:gd name="connsiteX72" fmla="*/ 151378 w 507556"/>
              <a:gd name="connsiteY72" fmla="*/ 58377 h 443710"/>
              <a:gd name="connsiteX73" fmla="*/ 111040 w 507556"/>
              <a:gd name="connsiteY73" fmla="*/ 76951 h 443710"/>
              <a:gd name="connsiteX74" fmla="*/ 95657 w 507556"/>
              <a:gd name="connsiteY74" fmla="*/ 118613 h 443710"/>
              <a:gd name="connsiteX75" fmla="*/ 114231 w 507556"/>
              <a:gd name="connsiteY75" fmla="*/ 158961 h 443710"/>
              <a:gd name="connsiteX76" fmla="*/ 153588 w 507556"/>
              <a:gd name="connsiteY76" fmla="*/ 174401 h 443710"/>
              <a:gd name="connsiteX77" fmla="*/ 155893 w 507556"/>
              <a:gd name="connsiteY77" fmla="*/ 174353 h 443710"/>
              <a:gd name="connsiteX78" fmla="*/ 183382 w 507556"/>
              <a:gd name="connsiteY78" fmla="*/ 166200 h 443710"/>
              <a:gd name="connsiteX79" fmla="*/ 209881 w 507556"/>
              <a:gd name="connsiteY79" fmla="*/ 192270 h 443710"/>
              <a:gd name="connsiteX80" fmla="*/ 199003 w 507556"/>
              <a:gd name="connsiteY80" fmla="*/ 219502 h 443710"/>
              <a:gd name="connsiteX81" fmla="*/ 89533 w 507556"/>
              <a:gd name="connsiteY81" fmla="*/ 218892 h 443710"/>
              <a:gd name="connsiteX82" fmla="*/ 76921 w 507556"/>
              <a:gd name="connsiteY82" fmla="*/ 198737 h 443710"/>
              <a:gd name="connsiteX83" fmla="*/ 44022 w 507556"/>
              <a:gd name="connsiteY83" fmla="*/ 186593 h 443710"/>
              <a:gd name="connsiteX84" fmla="*/ 12180 w 507556"/>
              <a:gd name="connsiteY84" fmla="*/ 201261 h 443710"/>
              <a:gd name="connsiteX85" fmla="*/ 36 w 507556"/>
              <a:gd name="connsiteY85" fmla="*/ 234151 h 443710"/>
              <a:gd name="connsiteX86" fmla="*/ 14704 w 507556"/>
              <a:gd name="connsiteY86" fmla="*/ 265993 h 443710"/>
              <a:gd name="connsiteX87" fmla="*/ 45765 w 507556"/>
              <a:gd name="connsiteY87" fmla="*/ 278176 h 443710"/>
              <a:gd name="connsiteX88" fmla="*/ 47584 w 507556"/>
              <a:gd name="connsiteY88" fmla="*/ 278138 h 443710"/>
              <a:gd name="connsiteX89" fmla="*/ 79427 w 507556"/>
              <a:gd name="connsiteY89" fmla="*/ 263479 h 443710"/>
              <a:gd name="connsiteX90" fmla="*/ 88971 w 507556"/>
              <a:gd name="connsiteY90" fmla="*/ 247667 h 443710"/>
              <a:gd name="connsiteX91" fmla="*/ 199203 w 507556"/>
              <a:gd name="connsiteY91" fmla="*/ 248267 h 443710"/>
              <a:gd name="connsiteX92" fmla="*/ 210176 w 507556"/>
              <a:gd name="connsiteY92" fmla="*/ 274918 h 443710"/>
              <a:gd name="connsiteX93" fmla="*/ 190879 w 507556"/>
              <a:gd name="connsiteY93" fmla="*/ 294530 h 443710"/>
              <a:gd name="connsiteX94" fmla="*/ 169219 w 507556"/>
              <a:gd name="connsiteY94" fmla="*/ 289358 h 443710"/>
              <a:gd name="connsiteX95" fmla="*/ 129157 w 507556"/>
              <a:gd name="connsiteY95" fmla="*/ 332687 h 443710"/>
              <a:gd name="connsiteX96" fmla="*/ 142511 w 507556"/>
              <a:gd name="connsiteY96" fmla="*/ 361691 h 443710"/>
              <a:gd name="connsiteX97" fmla="*/ 170800 w 507556"/>
              <a:gd name="connsiteY97" fmla="*/ 372788 h 443710"/>
              <a:gd name="connsiteX98" fmla="*/ 172467 w 507556"/>
              <a:gd name="connsiteY98" fmla="*/ 372749 h 443710"/>
              <a:gd name="connsiteX99" fmla="*/ 212538 w 507556"/>
              <a:gd name="connsiteY99" fmla="*/ 329430 h 443710"/>
              <a:gd name="connsiteX100" fmla="*/ 209833 w 507556"/>
              <a:gd name="connsiteY100" fmla="*/ 316285 h 443710"/>
              <a:gd name="connsiteX101" fmla="*/ 230245 w 507556"/>
              <a:gd name="connsiteY101" fmla="*/ 295540 h 443710"/>
              <a:gd name="connsiteX102" fmla="*/ 273498 w 507556"/>
              <a:gd name="connsiteY102" fmla="*/ 309151 h 443710"/>
              <a:gd name="connsiteX103" fmla="*/ 315732 w 507556"/>
              <a:gd name="connsiteY103" fmla="*/ 296254 h 443710"/>
              <a:gd name="connsiteX104" fmla="*/ 381159 w 507556"/>
              <a:gd name="connsiteY104" fmla="*/ 362396 h 443710"/>
              <a:gd name="connsiteX105" fmla="*/ 373682 w 507556"/>
              <a:gd name="connsiteY105" fmla="*/ 391847 h 443710"/>
              <a:gd name="connsiteX106" fmla="*/ 390970 w 507556"/>
              <a:gd name="connsiteY106" fmla="*/ 429366 h 443710"/>
              <a:gd name="connsiteX107" fmla="*/ 427565 w 507556"/>
              <a:gd name="connsiteY107" fmla="*/ 443711 h 443710"/>
              <a:gd name="connsiteX108" fmla="*/ 429718 w 507556"/>
              <a:gd name="connsiteY108" fmla="*/ 443673 h 443710"/>
              <a:gd name="connsiteX109" fmla="*/ 481524 w 507556"/>
              <a:gd name="connsiteY109" fmla="*/ 387647 h 443710"/>
              <a:gd name="connsiteX110" fmla="*/ 425508 w 507556"/>
              <a:gd name="connsiteY110" fmla="*/ 335830 h 443710"/>
              <a:gd name="connsiteX111" fmla="*/ 401857 w 507556"/>
              <a:gd name="connsiteY111" fmla="*/ 342403 h 443710"/>
              <a:gd name="connsiteX112" fmla="*/ 336135 w 507556"/>
              <a:gd name="connsiteY112" fmla="*/ 275947 h 443710"/>
              <a:gd name="connsiteX113" fmla="*/ 347812 w 507556"/>
              <a:gd name="connsiteY113" fmla="*/ 248134 h 443710"/>
              <a:gd name="connsiteX114" fmla="*/ 380083 w 507556"/>
              <a:gd name="connsiteY114" fmla="*/ 247877 h 443710"/>
              <a:gd name="connsiteX115" fmla="*/ 393885 w 507556"/>
              <a:gd name="connsiteY115" fmla="*/ 269946 h 443710"/>
              <a:gd name="connsiteX116" fmla="*/ 427727 w 507556"/>
              <a:gd name="connsiteY116" fmla="*/ 283186 h 443710"/>
              <a:gd name="connsiteX117" fmla="*/ 464379 w 507556"/>
              <a:gd name="connsiteY117" fmla="*/ 267193 h 443710"/>
              <a:gd name="connsiteX118" fmla="*/ 464389 w 507556"/>
              <a:gd name="connsiteY118" fmla="*/ 267193 h 443710"/>
              <a:gd name="connsiteX119" fmla="*/ 461646 w 507556"/>
              <a:gd name="connsiteY119" fmla="*/ 196708 h 443710"/>
              <a:gd name="connsiteX120" fmla="*/ 391151 w 507556"/>
              <a:gd name="connsiteY120" fmla="*/ 199452 h 443710"/>
              <a:gd name="connsiteX121" fmla="*/ 379978 w 507556"/>
              <a:gd name="connsiteY121" fmla="*/ 219111 h 443710"/>
              <a:gd name="connsiteX122" fmla="*/ 347965 w 507556"/>
              <a:gd name="connsiteY122" fmla="*/ 219368 h 443710"/>
              <a:gd name="connsiteX123" fmla="*/ 336297 w 507556"/>
              <a:gd name="connsiteY123" fmla="*/ 191003 h 443710"/>
              <a:gd name="connsiteX124" fmla="*/ 336297 w 507556"/>
              <a:gd name="connsiteY124" fmla="*/ 191003 h 443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507556" h="443710">
                <a:moveTo>
                  <a:pt x="416478" y="222893"/>
                </a:moveTo>
                <a:cubicBezTo>
                  <a:pt x="419498" y="219626"/>
                  <a:pt x="423622" y="217968"/>
                  <a:pt x="427756" y="217968"/>
                </a:cubicBezTo>
                <a:cubicBezTo>
                  <a:pt x="431490" y="217968"/>
                  <a:pt x="435233" y="219321"/>
                  <a:pt x="438186" y="222045"/>
                </a:cubicBezTo>
                <a:cubicBezTo>
                  <a:pt x="444396" y="227798"/>
                  <a:pt x="444777" y="237523"/>
                  <a:pt x="439033" y="243743"/>
                </a:cubicBezTo>
                <a:cubicBezTo>
                  <a:pt x="433280" y="249963"/>
                  <a:pt x="423536" y="250353"/>
                  <a:pt x="417326" y="244600"/>
                </a:cubicBezTo>
                <a:cubicBezTo>
                  <a:pt x="414316" y="241819"/>
                  <a:pt x="412573" y="238018"/>
                  <a:pt x="412411" y="233922"/>
                </a:cubicBezTo>
                <a:cubicBezTo>
                  <a:pt x="412249" y="229827"/>
                  <a:pt x="413697" y="225902"/>
                  <a:pt x="416478" y="222893"/>
                </a:cubicBezTo>
                <a:lnTo>
                  <a:pt x="416478" y="222893"/>
                </a:lnTo>
                <a:close/>
                <a:moveTo>
                  <a:pt x="426851" y="370330"/>
                </a:moveTo>
                <a:lnTo>
                  <a:pt x="427622" y="370311"/>
                </a:lnTo>
                <a:cubicBezTo>
                  <a:pt x="437986" y="370311"/>
                  <a:pt x="446615" y="378531"/>
                  <a:pt x="447025" y="388980"/>
                </a:cubicBezTo>
                <a:cubicBezTo>
                  <a:pt x="447434" y="399696"/>
                  <a:pt x="439072" y="408754"/>
                  <a:pt x="428365" y="409173"/>
                </a:cubicBezTo>
                <a:cubicBezTo>
                  <a:pt x="423165" y="409354"/>
                  <a:pt x="418221" y="407544"/>
                  <a:pt x="414402" y="404010"/>
                </a:cubicBezTo>
                <a:cubicBezTo>
                  <a:pt x="410592" y="400486"/>
                  <a:pt x="408382" y="395686"/>
                  <a:pt x="408172" y="390494"/>
                </a:cubicBezTo>
                <a:cubicBezTo>
                  <a:pt x="407763" y="379798"/>
                  <a:pt x="416145" y="370749"/>
                  <a:pt x="426851" y="370330"/>
                </a:cubicBezTo>
                <a:lnTo>
                  <a:pt x="426851" y="370330"/>
                </a:lnTo>
                <a:close/>
                <a:moveTo>
                  <a:pt x="232246" y="233351"/>
                </a:moveTo>
                <a:cubicBezTo>
                  <a:pt x="232246" y="210605"/>
                  <a:pt x="250762" y="192108"/>
                  <a:pt x="273517" y="192108"/>
                </a:cubicBezTo>
                <a:cubicBezTo>
                  <a:pt x="296254" y="192108"/>
                  <a:pt x="314751" y="210605"/>
                  <a:pt x="314751" y="233351"/>
                </a:cubicBezTo>
                <a:cubicBezTo>
                  <a:pt x="314751" y="256106"/>
                  <a:pt x="296254" y="274623"/>
                  <a:pt x="273517" y="274623"/>
                </a:cubicBezTo>
                <a:cubicBezTo>
                  <a:pt x="250762" y="274623"/>
                  <a:pt x="232246" y="256106"/>
                  <a:pt x="232246" y="233351"/>
                </a:cubicBezTo>
                <a:lnTo>
                  <a:pt x="232246" y="233351"/>
                </a:lnTo>
                <a:close/>
                <a:moveTo>
                  <a:pt x="171124" y="338250"/>
                </a:moveTo>
                <a:cubicBezTo>
                  <a:pt x="168552" y="338355"/>
                  <a:pt x="166771" y="337097"/>
                  <a:pt x="165952" y="336335"/>
                </a:cubicBezTo>
                <a:cubicBezTo>
                  <a:pt x="165133" y="335583"/>
                  <a:pt x="163751" y="333926"/>
                  <a:pt x="163647" y="331325"/>
                </a:cubicBezTo>
                <a:cubicBezTo>
                  <a:pt x="163485" y="327353"/>
                  <a:pt x="166590" y="323991"/>
                  <a:pt x="170562" y="323838"/>
                </a:cubicBezTo>
                <a:cubicBezTo>
                  <a:pt x="174448" y="323648"/>
                  <a:pt x="177886" y="326791"/>
                  <a:pt x="178048" y="330763"/>
                </a:cubicBezTo>
                <a:cubicBezTo>
                  <a:pt x="178210" y="334745"/>
                  <a:pt x="175096" y="338098"/>
                  <a:pt x="171124" y="338250"/>
                </a:cubicBezTo>
                <a:lnTo>
                  <a:pt x="171124" y="338250"/>
                </a:lnTo>
                <a:close/>
                <a:moveTo>
                  <a:pt x="54081" y="240038"/>
                </a:moveTo>
                <a:cubicBezTo>
                  <a:pt x="52033" y="242247"/>
                  <a:pt x="49251" y="243524"/>
                  <a:pt x="46241" y="243648"/>
                </a:cubicBezTo>
                <a:cubicBezTo>
                  <a:pt x="43298" y="243762"/>
                  <a:pt x="40355" y="242705"/>
                  <a:pt x="38145" y="240657"/>
                </a:cubicBezTo>
                <a:cubicBezTo>
                  <a:pt x="35935" y="238609"/>
                  <a:pt x="34640" y="235818"/>
                  <a:pt x="34526" y="232808"/>
                </a:cubicBezTo>
                <a:cubicBezTo>
                  <a:pt x="34411" y="229798"/>
                  <a:pt x="35469" y="226931"/>
                  <a:pt x="37517" y="224712"/>
                </a:cubicBezTo>
                <a:cubicBezTo>
                  <a:pt x="39564" y="222502"/>
                  <a:pt x="42346" y="221216"/>
                  <a:pt x="45365" y="221102"/>
                </a:cubicBezTo>
                <a:cubicBezTo>
                  <a:pt x="48413" y="220978"/>
                  <a:pt x="51261" y="222045"/>
                  <a:pt x="53471" y="224093"/>
                </a:cubicBezTo>
                <a:cubicBezTo>
                  <a:pt x="58033" y="228312"/>
                  <a:pt x="58310" y="235466"/>
                  <a:pt x="54081" y="240038"/>
                </a:cubicBezTo>
                <a:lnTo>
                  <a:pt x="54081" y="240038"/>
                </a:lnTo>
                <a:close/>
                <a:moveTo>
                  <a:pt x="154560" y="139844"/>
                </a:moveTo>
                <a:cubicBezTo>
                  <a:pt x="148264" y="140054"/>
                  <a:pt x="142301" y="137872"/>
                  <a:pt x="137681" y="133605"/>
                </a:cubicBezTo>
                <a:cubicBezTo>
                  <a:pt x="133071" y="129338"/>
                  <a:pt x="130395" y="123528"/>
                  <a:pt x="130147" y="117251"/>
                </a:cubicBezTo>
                <a:cubicBezTo>
                  <a:pt x="129900" y="110974"/>
                  <a:pt x="132109" y="104983"/>
                  <a:pt x="136377" y="100382"/>
                </a:cubicBezTo>
                <a:cubicBezTo>
                  <a:pt x="140644" y="95772"/>
                  <a:pt x="146444" y="93095"/>
                  <a:pt x="152721" y="92857"/>
                </a:cubicBezTo>
                <a:cubicBezTo>
                  <a:pt x="165799" y="92410"/>
                  <a:pt x="176639" y="102478"/>
                  <a:pt x="177144" y="115422"/>
                </a:cubicBezTo>
                <a:cubicBezTo>
                  <a:pt x="177391" y="121699"/>
                  <a:pt x="175172" y="127690"/>
                  <a:pt x="170905" y="132310"/>
                </a:cubicBezTo>
                <a:cubicBezTo>
                  <a:pt x="166647" y="136920"/>
                  <a:pt x="160837" y="139606"/>
                  <a:pt x="154560" y="139844"/>
                </a:cubicBezTo>
                <a:lnTo>
                  <a:pt x="154560" y="139844"/>
                </a:lnTo>
                <a:close/>
                <a:moveTo>
                  <a:pt x="425194" y="43384"/>
                </a:moveTo>
                <a:cubicBezTo>
                  <a:pt x="430204" y="37974"/>
                  <a:pt x="437014" y="34831"/>
                  <a:pt x="444386" y="34545"/>
                </a:cubicBezTo>
                <a:cubicBezTo>
                  <a:pt x="444758" y="34536"/>
                  <a:pt x="445120" y="34526"/>
                  <a:pt x="445482" y="34526"/>
                </a:cubicBezTo>
                <a:cubicBezTo>
                  <a:pt x="452445" y="34526"/>
                  <a:pt x="459045" y="37107"/>
                  <a:pt x="464179" y="41860"/>
                </a:cubicBezTo>
                <a:cubicBezTo>
                  <a:pt x="469590" y="46861"/>
                  <a:pt x="472723" y="53671"/>
                  <a:pt x="473019" y="61034"/>
                </a:cubicBezTo>
                <a:cubicBezTo>
                  <a:pt x="473609" y="76246"/>
                  <a:pt x="461722" y="89104"/>
                  <a:pt x="446530" y="89695"/>
                </a:cubicBezTo>
                <a:cubicBezTo>
                  <a:pt x="439148" y="89981"/>
                  <a:pt x="432128" y="87380"/>
                  <a:pt x="426718" y="82370"/>
                </a:cubicBezTo>
                <a:cubicBezTo>
                  <a:pt x="421298" y="77360"/>
                  <a:pt x="418155" y="70550"/>
                  <a:pt x="417869" y="63177"/>
                </a:cubicBezTo>
                <a:cubicBezTo>
                  <a:pt x="417583" y="55834"/>
                  <a:pt x="420183" y="48795"/>
                  <a:pt x="425194" y="43384"/>
                </a:cubicBezTo>
                <a:lnTo>
                  <a:pt x="425194" y="43384"/>
                </a:lnTo>
                <a:close/>
                <a:moveTo>
                  <a:pt x="336297" y="191003"/>
                </a:moveTo>
                <a:lnTo>
                  <a:pt x="412040" y="114489"/>
                </a:lnTo>
                <a:cubicBezTo>
                  <a:pt x="421955" y="120842"/>
                  <a:pt x="433442" y="124252"/>
                  <a:pt x="445396" y="124252"/>
                </a:cubicBezTo>
                <a:cubicBezTo>
                  <a:pt x="446215" y="124252"/>
                  <a:pt x="447044" y="124242"/>
                  <a:pt x="447873" y="124204"/>
                </a:cubicBezTo>
                <a:cubicBezTo>
                  <a:pt x="482086" y="122871"/>
                  <a:pt x="508842" y="93934"/>
                  <a:pt x="507509" y="59701"/>
                </a:cubicBezTo>
                <a:cubicBezTo>
                  <a:pt x="506861" y="43127"/>
                  <a:pt x="499803" y="27792"/>
                  <a:pt x="487620" y="16524"/>
                </a:cubicBezTo>
                <a:cubicBezTo>
                  <a:pt x="475438" y="5256"/>
                  <a:pt x="459626" y="-640"/>
                  <a:pt x="443034" y="55"/>
                </a:cubicBezTo>
                <a:cubicBezTo>
                  <a:pt x="426460" y="703"/>
                  <a:pt x="411125" y="7761"/>
                  <a:pt x="399848" y="19943"/>
                </a:cubicBezTo>
                <a:cubicBezTo>
                  <a:pt x="388580" y="32126"/>
                  <a:pt x="382722" y="47956"/>
                  <a:pt x="383369" y="64539"/>
                </a:cubicBezTo>
                <a:cubicBezTo>
                  <a:pt x="383779" y="75046"/>
                  <a:pt x="386779" y="85037"/>
                  <a:pt x="392008" y="93829"/>
                </a:cubicBezTo>
                <a:lnTo>
                  <a:pt x="315970" y="170648"/>
                </a:lnTo>
                <a:cubicBezTo>
                  <a:pt x="303855" y="162418"/>
                  <a:pt x="289234" y="157599"/>
                  <a:pt x="273508" y="157599"/>
                </a:cubicBezTo>
                <a:cubicBezTo>
                  <a:pt x="257249" y="157599"/>
                  <a:pt x="242171" y="162761"/>
                  <a:pt x="229817" y="171515"/>
                </a:cubicBezTo>
                <a:lnTo>
                  <a:pt x="203661" y="145778"/>
                </a:lnTo>
                <a:cubicBezTo>
                  <a:pt x="209271" y="136282"/>
                  <a:pt x="212091" y="125376"/>
                  <a:pt x="211643" y="114098"/>
                </a:cubicBezTo>
                <a:cubicBezTo>
                  <a:pt x="210405" y="82132"/>
                  <a:pt x="183411" y="57043"/>
                  <a:pt x="151378" y="58377"/>
                </a:cubicBezTo>
                <a:cubicBezTo>
                  <a:pt x="135891" y="58977"/>
                  <a:pt x="121565" y="65578"/>
                  <a:pt x="111040" y="76951"/>
                </a:cubicBezTo>
                <a:cubicBezTo>
                  <a:pt x="100515" y="88333"/>
                  <a:pt x="95048" y="103125"/>
                  <a:pt x="95657" y="118613"/>
                </a:cubicBezTo>
                <a:cubicBezTo>
                  <a:pt x="96257" y="134101"/>
                  <a:pt x="102858" y="148436"/>
                  <a:pt x="114231" y="158961"/>
                </a:cubicBezTo>
                <a:cubicBezTo>
                  <a:pt x="125042" y="168971"/>
                  <a:pt x="138939" y="174401"/>
                  <a:pt x="153588" y="174401"/>
                </a:cubicBezTo>
                <a:cubicBezTo>
                  <a:pt x="154350" y="174401"/>
                  <a:pt x="155131" y="174391"/>
                  <a:pt x="155893" y="174353"/>
                </a:cubicBezTo>
                <a:cubicBezTo>
                  <a:pt x="165761" y="173972"/>
                  <a:pt x="175143" y="171134"/>
                  <a:pt x="183382" y="166200"/>
                </a:cubicBezTo>
                <a:lnTo>
                  <a:pt x="209881" y="192270"/>
                </a:lnTo>
                <a:cubicBezTo>
                  <a:pt x="204604" y="200414"/>
                  <a:pt x="200842" y="209624"/>
                  <a:pt x="199003" y="219502"/>
                </a:cubicBezTo>
                <a:lnTo>
                  <a:pt x="89533" y="218892"/>
                </a:lnTo>
                <a:cubicBezTo>
                  <a:pt x="87247" y="211415"/>
                  <a:pt x="83056" y="204424"/>
                  <a:pt x="76921" y="198737"/>
                </a:cubicBezTo>
                <a:cubicBezTo>
                  <a:pt x="67939" y="190422"/>
                  <a:pt x="56252" y="186126"/>
                  <a:pt x="44022" y="186593"/>
                </a:cubicBezTo>
                <a:cubicBezTo>
                  <a:pt x="31792" y="187069"/>
                  <a:pt x="20486" y="192279"/>
                  <a:pt x="12180" y="201261"/>
                </a:cubicBezTo>
                <a:cubicBezTo>
                  <a:pt x="3865" y="210243"/>
                  <a:pt x="-441" y="221931"/>
                  <a:pt x="36" y="234151"/>
                </a:cubicBezTo>
                <a:cubicBezTo>
                  <a:pt x="512" y="246381"/>
                  <a:pt x="5732" y="257678"/>
                  <a:pt x="14704" y="265993"/>
                </a:cubicBezTo>
                <a:cubicBezTo>
                  <a:pt x="23239" y="273889"/>
                  <a:pt x="34211" y="278176"/>
                  <a:pt x="45765" y="278176"/>
                </a:cubicBezTo>
                <a:cubicBezTo>
                  <a:pt x="46365" y="278176"/>
                  <a:pt x="46975" y="278166"/>
                  <a:pt x="47584" y="278138"/>
                </a:cubicBezTo>
                <a:cubicBezTo>
                  <a:pt x="59805" y="277661"/>
                  <a:pt x="71121" y="272451"/>
                  <a:pt x="79427" y="263479"/>
                </a:cubicBezTo>
                <a:cubicBezTo>
                  <a:pt x="83789" y="258764"/>
                  <a:pt x="86951" y="253363"/>
                  <a:pt x="88971" y="247667"/>
                </a:cubicBezTo>
                <a:lnTo>
                  <a:pt x="199203" y="248267"/>
                </a:lnTo>
                <a:cubicBezTo>
                  <a:pt x="201147" y="257945"/>
                  <a:pt x="204928" y="266946"/>
                  <a:pt x="210176" y="274918"/>
                </a:cubicBezTo>
                <a:lnTo>
                  <a:pt x="190879" y="294530"/>
                </a:lnTo>
                <a:cubicBezTo>
                  <a:pt x="184459" y="290987"/>
                  <a:pt x="177048" y="289053"/>
                  <a:pt x="169219" y="289358"/>
                </a:cubicBezTo>
                <a:cubicBezTo>
                  <a:pt x="146235" y="290253"/>
                  <a:pt x="128252" y="309694"/>
                  <a:pt x="129157" y="332687"/>
                </a:cubicBezTo>
                <a:cubicBezTo>
                  <a:pt x="129585" y="343822"/>
                  <a:pt x="134329" y="354128"/>
                  <a:pt x="142511" y="361691"/>
                </a:cubicBezTo>
                <a:cubicBezTo>
                  <a:pt x="150283" y="368882"/>
                  <a:pt x="160275" y="372788"/>
                  <a:pt x="170800" y="372788"/>
                </a:cubicBezTo>
                <a:cubicBezTo>
                  <a:pt x="171352" y="372788"/>
                  <a:pt x="171905" y="372778"/>
                  <a:pt x="172467" y="372749"/>
                </a:cubicBezTo>
                <a:cubicBezTo>
                  <a:pt x="195460" y="371854"/>
                  <a:pt x="213443" y="352423"/>
                  <a:pt x="212538" y="329430"/>
                </a:cubicBezTo>
                <a:cubicBezTo>
                  <a:pt x="212357" y="324801"/>
                  <a:pt x="211395" y="320390"/>
                  <a:pt x="209833" y="316285"/>
                </a:cubicBezTo>
                <a:lnTo>
                  <a:pt x="230245" y="295540"/>
                </a:lnTo>
                <a:cubicBezTo>
                  <a:pt x="242514" y="304112"/>
                  <a:pt x="257430" y="309151"/>
                  <a:pt x="273498" y="309151"/>
                </a:cubicBezTo>
                <a:cubicBezTo>
                  <a:pt x="289119" y="309151"/>
                  <a:pt x="303655" y="304398"/>
                  <a:pt x="315732" y="296254"/>
                </a:cubicBezTo>
                <a:lnTo>
                  <a:pt x="381159" y="362396"/>
                </a:lnTo>
                <a:cubicBezTo>
                  <a:pt x="376064" y="371016"/>
                  <a:pt x="373263" y="381122"/>
                  <a:pt x="373682" y="391847"/>
                </a:cubicBezTo>
                <a:cubicBezTo>
                  <a:pt x="374244" y="406249"/>
                  <a:pt x="380378" y="419574"/>
                  <a:pt x="390970" y="429366"/>
                </a:cubicBezTo>
                <a:cubicBezTo>
                  <a:pt x="401019" y="438672"/>
                  <a:pt x="413945" y="443711"/>
                  <a:pt x="427565" y="443711"/>
                </a:cubicBezTo>
                <a:cubicBezTo>
                  <a:pt x="428280" y="443711"/>
                  <a:pt x="428994" y="443701"/>
                  <a:pt x="429718" y="443673"/>
                </a:cubicBezTo>
                <a:cubicBezTo>
                  <a:pt x="459445" y="442510"/>
                  <a:pt x="482686" y="417384"/>
                  <a:pt x="481524" y="387647"/>
                </a:cubicBezTo>
                <a:cubicBezTo>
                  <a:pt x="480362" y="357919"/>
                  <a:pt x="455340" y="334640"/>
                  <a:pt x="425508" y="335830"/>
                </a:cubicBezTo>
                <a:cubicBezTo>
                  <a:pt x="416935" y="336164"/>
                  <a:pt x="408925" y="338545"/>
                  <a:pt x="401857" y="342403"/>
                </a:cubicBezTo>
                <a:lnTo>
                  <a:pt x="336135" y="275947"/>
                </a:lnTo>
                <a:cubicBezTo>
                  <a:pt x="341764" y="267698"/>
                  <a:pt x="345793" y="258278"/>
                  <a:pt x="347812" y="248134"/>
                </a:cubicBezTo>
                <a:lnTo>
                  <a:pt x="380083" y="247877"/>
                </a:lnTo>
                <a:cubicBezTo>
                  <a:pt x="382626" y="256249"/>
                  <a:pt x="387294" y="263850"/>
                  <a:pt x="393885" y="269946"/>
                </a:cubicBezTo>
                <a:cubicBezTo>
                  <a:pt x="403458" y="278804"/>
                  <a:pt x="415611" y="283186"/>
                  <a:pt x="427727" y="283186"/>
                </a:cubicBezTo>
                <a:cubicBezTo>
                  <a:pt x="441158" y="283186"/>
                  <a:pt x="454559" y="277804"/>
                  <a:pt x="464379" y="267193"/>
                </a:cubicBezTo>
                <a:lnTo>
                  <a:pt x="464389" y="267193"/>
                </a:lnTo>
                <a:cubicBezTo>
                  <a:pt x="483058" y="247000"/>
                  <a:pt x="481820" y="215387"/>
                  <a:pt x="461646" y="196708"/>
                </a:cubicBezTo>
                <a:cubicBezTo>
                  <a:pt x="441453" y="178039"/>
                  <a:pt x="409830" y="179268"/>
                  <a:pt x="391151" y="199452"/>
                </a:cubicBezTo>
                <a:cubicBezTo>
                  <a:pt x="385874" y="205157"/>
                  <a:pt x="382122" y="211872"/>
                  <a:pt x="379978" y="219111"/>
                </a:cubicBezTo>
                <a:lnTo>
                  <a:pt x="347965" y="219368"/>
                </a:lnTo>
                <a:cubicBezTo>
                  <a:pt x="346012" y="209024"/>
                  <a:pt x="341993" y="199413"/>
                  <a:pt x="336297" y="191003"/>
                </a:cubicBezTo>
                <a:lnTo>
                  <a:pt x="336297" y="191003"/>
                </a:lnTo>
                <a:close/>
              </a:path>
            </a:pathLst>
          </a:custGeom>
          <a:solidFill>
            <a:srgbClr val="BF229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BF229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5" name="Objekt 34" hidden="1">
            <a:extLst>
              <a:ext uri="{FF2B5EF4-FFF2-40B4-BE49-F238E27FC236}">
                <a16:creationId xmlns:a16="http://schemas.microsoft.com/office/drawing/2014/main" id="{C04A5B0B-B376-4CBE-983F-505F69FA5F7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59" imgH="358" progId="TCLayout.ActiveDocument.1">
                  <p:embed/>
                </p:oleObj>
              </mc:Choice>
              <mc:Fallback>
                <p:oleObj name="think-cell Slide" r:id="rId9" imgW="359" imgH="358" progId="TCLayout.ActiveDocument.1">
                  <p:embed/>
                  <p:pic>
                    <p:nvPicPr>
                      <p:cNvPr id="35" name="Objekt 34" hidden="1">
                        <a:extLst>
                          <a:ext uri="{FF2B5EF4-FFF2-40B4-BE49-F238E27FC236}">
                            <a16:creationId xmlns:a16="http://schemas.microsoft.com/office/drawing/2014/main" id="{C04A5B0B-B376-4CBE-983F-505F69FA5F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earwheel">
            <a:extLst>
              <a:ext uri="{FF2B5EF4-FFF2-40B4-BE49-F238E27FC236}">
                <a16:creationId xmlns:a16="http://schemas.microsoft.com/office/drawing/2014/main" id="{05D20B5E-93E3-3831-000E-2DD3C3B52A3E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 bwMode="gray">
          <a:xfrm>
            <a:off x="3665284" y="1687061"/>
            <a:ext cx="777284" cy="777240"/>
          </a:xfrm>
          <a:custGeom>
            <a:avLst/>
            <a:gdLst>
              <a:gd name="connsiteX0" fmla="*/ 304866 w 537276"/>
              <a:gd name="connsiteY0" fmla="*/ 269205 h 537248"/>
              <a:gd name="connsiteX1" fmla="*/ 268557 w 537276"/>
              <a:gd name="connsiteY1" fmla="*/ 305524 h 537248"/>
              <a:gd name="connsiteX2" fmla="*/ 232238 w 537276"/>
              <a:gd name="connsiteY2" fmla="*/ 269205 h 537248"/>
              <a:gd name="connsiteX3" fmla="*/ 268557 w 537276"/>
              <a:gd name="connsiteY3" fmla="*/ 232896 h 537248"/>
              <a:gd name="connsiteX4" fmla="*/ 304866 w 537276"/>
              <a:gd name="connsiteY4" fmla="*/ 269205 h 537248"/>
              <a:gd name="connsiteX5" fmla="*/ 304866 w 537276"/>
              <a:gd name="connsiteY5" fmla="*/ 269205 h 537248"/>
              <a:gd name="connsiteX6" fmla="*/ 115157 w 537276"/>
              <a:gd name="connsiteY6" fmla="*/ 269119 h 537248"/>
              <a:gd name="connsiteX7" fmla="*/ 268719 w 537276"/>
              <a:gd name="connsiteY7" fmla="*/ 422672 h 537248"/>
              <a:gd name="connsiteX8" fmla="*/ 422234 w 537276"/>
              <a:gd name="connsiteY8" fmla="*/ 269119 h 537248"/>
              <a:gd name="connsiteX9" fmla="*/ 268719 w 537276"/>
              <a:gd name="connsiteY9" fmla="*/ 115595 h 537248"/>
              <a:gd name="connsiteX10" fmla="*/ 115157 w 537276"/>
              <a:gd name="connsiteY10" fmla="*/ 269119 h 537248"/>
              <a:gd name="connsiteX11" fmla="*/ 115157 w 537276"/>
              <a:gd name="connsiteY11" fmla="*/ 269119 h 537248"/>
              <a:gd name="connsiteX12" fmla="*/ 537277 w 537276"/>
              <a:gd name="connsiteY12" fmla="*/ 293618 h 537248"/>
              <a:gd name="connsiteX13" fmla="*/ 470697 w 537276"/>
              <a:gd name="connsiteY13" fmla="*/ 293618 h 537248"/>
              <a:gd name="connsiteX14" fmla="*/ 428682 w 537276"/>
              <a:gd name="connsiteY14" fmla="*/ 394706 h 537248"/>
              <a:gd name="connsiteX15" fmla="*/ 476717 w 537276"/>
              <a:gd name="connsiteY15" fmla="*/ 442741 h 537248"/>
              <a:gd name="connsiteX16" fmla="*/ 441379 w 537276"/>
              <a:gd name="connsiteY16" fmla="*/ 478088 h 537248"/>
              <a:gd name="connsiteX17" fmla="*/ 393230 w 537276"/>
              <a:gd name="connsiteY17" fmla="*/ 429939 h 537248"/>
              <a:gd name="connsiteX18" fmla="*/ 293637 w 537276"/>
              <a:gd name="connsiteY18" fmla="*/ 471078 h 537248"/>
              <a:gd name="connsiteX19" fmla="*/ 293637 w 537276"/>
              <a:gd name="connsiteY19" fmla="*/ 537248 h 537248"/>
              <a:gd name="connsiteX20" fmla="*/ 243649 w 537276"/>
              <a:gd name="connsiteY20" fmla="*/ 537248 h 537248"/>
              <a:gd name="connsiteX21" fmla="*/ 243649 w 537276"/>
              <a:gd name="connsiteY21" fmla="*/ 471059 h 537248"/>
              <a:gd name="connsiteX22" fmla="*/ 143323 w 537276"/>
              <a:gd name="connsiteY22" fmla="*/ 429282 h 537248"/>
              <a:gd name="connsiteX23" fmla="*/ 95212 w 537276"/>
              <a:gd name="connsiteY23" fmla="*/ 477393 h 537248"/>
              <a:gd name="connsiteX24" fmla="*/ 59864 w 537276"/>
              <a:gd name="connsiteY24" fmla="*/ 442046 h 537248"/>
              <a:gd name="connsiteX25" fmla="*/ 108042 w 537276"/>
              <a:gd name="connsiteY25" fmla="*/ 393868 h 537248"/>
              <a:gd name="connsiteX26" fmla="*/ 66684 w 537276"/>
              <a:gd name="connsiteY26" fmla="*/ 293618 h 537248"/>
              <a:gd name="connsiteX27" fmla="*/ 0 w 537276"/>
              <a:gd name="connsiteY27" fmla="*/ 293618 h 537248"/>
              <a:gd name="connsiteX28" fmla="*/ 0 w 537276"/>
              <a:gd name="connsiteY28" fmla="*/ 243630 h 537248"/>
              <a:gd name="connsiteX29" fmla="*/ 66808 w 537276"/>
              <a:gd name="connsiteY29" fmla="*/ 243630 h 537248"/>
              <a:gd name="connsiteX30" fmla="*/ 108023 w 537276"/>
              <a:gd name="connsiteY30" fmla="*/ 144418 h 537248"/>
              <a:gd name="connsiteX31" fmla="*/ 59855 w 537276"/>
              <a:gd name="connsiteY31" fmla="*/ 96260 h 537248"/>
              <a:gd name="connsiteX32" fmla="*/ 95202 w 537276"/>
              <a:gd name="connsiteY32" fmla="*/ 60912 h 537248"/>
              <a:gd name="connsiteX33" fmla="*/ 143303 w 537276"/>
              <a:gd name="connsiteY33" fmla="*/ 109004 h 537248"/>
              <a:gd name="connsiteX34" fmla="*/ 243640 w 537276"/>
              <a:gd name="connsiteY34" fmla="*/ 67218 h 537248"/>
              <a:gd name="connsiteX35" fmla="*/ 243640 w 537276"/>
              <a:gd name="connsiteY35" fmla="*/ 0 h 537248"/>
              <a:gd name="connsiteX36" fmla="*/ 293627 w 537276"/>
              <a:gd name="connsiteY36" fmla="*/ 0 h 537248"/>
              <a:gd name="connsiteX37" fmla="*/ 293627 w 537276"/>
              <a:gd name="connsiteY37" fmla="*/ 67199 h 537248"/>
              <a:gd name="connsiteX38" fmla="*/ 394011 w 537276"/>
              <a:gd name="connsiteY38" fmla="*/ 108947 h 537248"/>
              <a:gd name="connsiteX39" fmla="*/ 441360 w 537276"/>
              <a:gd name="connsiteY39" fmla="*/ 61598 h 537248"/>
              <a:gd name="connsiteX40" fmla="*/ 476698 w 537276"/>
              <a:gd name="connsiteY40" fmla="*/ 96945 h 537248"/>
              <a:gd name="connsiteX41" fmla="*/ 429292 w 537276"/>
              <a:gd name="connsiteY41" fmla="*/ 144351 h 537248"/>
              <a:gd name="connsiteX42" fmla="*/ 470545 w 537276"/>
              <a:gd name="connsiteY42" fmla="*/ 243630 h 537248"/>
              <a:gd name="connsiteX43" fmla="*/ 537248 w 537276"/>
              <a:gd name="connsiteY43" fmla="*/ 243630 h 537248"/>
              <a:gd name="connsiteX44" fmla="*/ 537248 w 537276"/>
              <a:gd name="connsiteY44" fmla="*/ 293618 h 537248"/>
              <a:gd name="connsiteX45" fmla="*/ 537277 w 537276"/>
              <a:gd name="connsiteY45" fmla="*/ 293618 h 5372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537276" h="537248">
                <a:moveTo>
                  <a:pt x="304866" y="269205"/>
                </a:moveTo>
                <a:cubicBezTo>
                  <a:pt x="304866" y="289265"/>
                  <a:pt x="288617" y="305524"/>
                  <a:pt x="268557" y="305524"/>
                </a:cubicBezTo>
                <a:cubicBezTo>
                  <a:pt x="248507" y="305524"/>
                  <a:pt x="232238" y="289265"/>
                  <a:pt x="232238" y="269205"/>
                </a:cubicBezTo>
                <a:cubicBezTo>
                  <a:pt x="232238" y="249155"/>
                  <a:pt x="248507" y="232896"/>
                  <a:pt x="268557" y="232896"/>
                </a:cubicBezTo>
                <a:cubicBezTo>
                  <a:pt x="288617" y="232896"/>
                  <a:pt x="304866" y="249155"/>
                  <a:pt x="304866" y="269205"/>
                </a:cubicBezTo>
                <a:lnTo>
                  <a:pt x="304866" y="269205"/>
                </a:lnTo>
                <a:close/>
                <a:moveTo>
                  <a:pt x="115157" y="269119"/>
                </a:moveTo>
                <a:cubicBezTo>
                  <a:pt x="115157" y="353787"/>
                  <a:pt x="184042" y="422672"/>
                  <a:pt x="268719" y="422672"/>
                </a:cubicBezTo>
                <a:cubicBezTo>
                  <a:pt x="353368" y="422672"/>
                  <a:pt x="422234" y="353787"/>
                  <a:pt x="422234" y="269119"/>
                </a:cubicBezTo>
                <a:cubicBezTo>
                  <a:pt x="422234" y="184471"/>
                  <a:pt x="353368" y="115595"/>
                  <a:pt x="268719" y="115595"/>
                </a:cubicBezTo>
                <a:cubicBezTo>
                  <a:pt x="184052" y="115605"/>
                  <a:pt x="115157" y="184471"/>
                  <a:pt x="115157" y="269119"/>
                </a:cubicBezTo>
                <a:lnTo>
                  <a:pt x="115157" y="269119"/>
                </a:lnTo>
                <a:close/>
                <a:moveTo>
                  <a:pt x="537277" y="293618"/>
                </a:moveTo>
                <a:lnTo>
                  <a:pt x="470697" y="293618"/>
                </a:lnTo>
                <a:cubicBezTo>
                  <a:pt x="466134" y="331480"/>
                  <a:pt x="451152" y="366151"/>
                  <a:pt x="428682" y="394706"/>
                </a:cubicBezTo>
                <a:lnTo>
                  <a:pt x="476717" y="442741"/>
                </a:lnTo>
                <a:lnTo>
                  <a:pt x="441379" y="478088"/>
                </a:lnTo>
                <a:lnTo>
                  <a:pt x="393230" y="429939"/>
                </a:lnTo>
                <a:cubicBezTo>
                  <a:pt x="364979" y="451866"/>
                  <a:pt x="330860" y="466506"/>
                  <a:pt x="293637" y="471078"/>
                </a:cubicBezTo>
                <a:lnTo>
                  <a:pt x="293637" y="537248"/>
                </a:lnTo>
                <a:lnTo>
                  <a:pt x="243649" y="537248"/>
                </a:lnTo>
                <a:lnTo>
                  <a:pt x="243649" y="471059"/>
                </a:lnTo>
                <a:cubicBezTo>
                  <a:pt x="206102" y="466420"/>
                  <a:pt x="171707" y="451542"/>
                  <a:pt x="143323" y="429282"/>
                </a:cubicBezTo>
                <a:lnTo>
                  <a:pt x="95212" y="477393"/>
                </a:lnTo>
                <a:lnTo>
                  <a:pt x="59864" y="442046"/>
                </a:lnTo>
                <a:lnTo>
                  <a:pt x="108042" y="393868"/>
                </a:lnTo>
                <a:cubicBezTo>
                  <a:pt x="85944" y="365474"/>
                  <a:pt x="71208" y="331108"/>
                  <a:pt x="66684" y="293618"/>
                </a:cubicBezTo>
                <a:lnTo>
                  <a:pt x="0" y="293618"/>
                </a:lnTo>
                <a:lnTo>
                  <a:pt x="0" y="243630"/>
                </a:lnTo>
                <a:lnTo>
                  <a:pt x="66808" y="243630"/>
                </a:lnTo>
                <a:cubicBezTo>
                  <a:pt x="71466" y="206550"/>
                  <a:pt x="86125" y="172555"/>
                  <a:pt x="108023" y="144418"/>
                </a:cubicBezTo>
                <a:lnTo>
                  <a:pt x="59855" y="96260"/>
                </a:lnTo>
                <a:lnTo>
                  <a:pt x="95202" y="60912"/>
                </a:lnTo>
                <a:lnTo>
                  <a:pt x="143303" y="109004"/>
                </a:lnTo>
                <a:cubicBezTo>
                  <a:pt x="171678" y="86735"/>
                  <a:pt x="206083" y="71857"/>
                  <a:pt x="243640" y="67218"/>
                </a:cubicBezTo>
                <a:lnTo>
                  <a:pt x="243640" y="0"/>
                </a:lnTo>
                <a:lnTo>
                  <a:pt x="293627" y="0"/>
                </a:lnTo>
                <a:lnTo>
                  <a:pt x="293627" y="67199"/>
                </a:lnTo>
                <a:cubicBezTo>
                  <a:pt x="331194" y="71809"/>
                  <a:pt x="365617" y="86687"/>
                  <a:pt x="394011" y="108947"/>
                </a:cubicBezTo>
                <a:lnTo>
                  <a:pt x="441360" y="61598"/>
                </a:lnTo>
                <a:lnTo>
                  <a:pt x="476698" y="96945"/>
                </a:lnTo>
                <a:lnTo>
                  <a:pt x="429292" y="144351"/>
                </a:lnTo>
                <a:cubicBezTo>
                  <a:pt x="451209" y="172498"/>
                  <a:pt x="465887" y="206521"/>
                  <a:pt x="470545" y="243630"/>
                </a:cubicBezTo>
                <a:lnTo>
                  <a:pt x="537248" y="243630"/>
                </a:lnTo>
                <a:lnTo>
                  <a:pt x="537248" y="293618"/>
                </a:lnTo>
                <a:lnTo>
                  <a:pt x="537277" y="293618"/>
                </a:lnTo>
                <a:close/>
              </a:path>
            </a:pathLst>
          </a:custGeom>
          <a:solidFill>
            <a:srgbClr val="BF229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9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Negotiation">
            <a:extLst>
              <a:ext uri="{FF2B5EF4-FFF2-40B4-BE49-F238E27FC236}">
                <a16:creationId xmlns:a16="http://schemas.microsoft.com/office/drawing/2014/main" id="{235E1A74-31E0-389D-DF40-9536F2DAD0F4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 bwMode="gray">
          <a:xfrm>
            <a:off x="7303452" y="4024158"/>
            <a:ext cx="765861" cy="731520"/>
          </a:xfrm>
          <a:custGeom>
            <a:avLst/>
            <a:gdLst>
              <a:gd name="connsiteX0" fmla="*/ 92259 w 514797"/>
              <a:gd name="connsiteY0" fmla="*/ 37043 h 491718"/>
              <a:gd name="connsiteX1" fmla="*/ 110480 w 514797"/>
              <a:gd name="connsiteY1" fmla="*/ 55264 h 491718"/>
              <a:gd name="connsiteX2" fmla="*/ 92259 w 514797"/>
              <a:gd name="connsiteY2" fmla="*/ 73495 h 491718"/>
              <a:gd name="connsiteX3" fmla="*/ 74028 w 514797"/>
              <a:gd name="connsiteY3" fmla="*/ 55264 h 491718"/>
              <a:gd name="connsiteX4" fmla="*/ 92259 w 514797"/>
              <a:gd name="connsiteY4" fmla="*/ 37043 h 491718"/>
              <a:gd name="connsiteX5" fmla="*/ 92259 w 514797"/>
              <a:gd name="connsiteY5" fmla="*/ 37043 h 491718"/>
              <a:gd name="connsiteX6" fmla="*/ 92259 w 514797"/>
              <a:gd name="connsiteY6" fmla="*/ 110528 h 491718"/>
              <a:gd name="connsiteX7" fmla="*/ 147514 w 514797"/>
              <a:gd name="connsiteY7" fmla="*/ 55264 h 491718"/>
              <a:gd name="connsiteX8" fmla="*/ 92259 w 514797"/>
              <a:gd name="connsiteY8" fmla="*/ 0 h 491718"/>
              <a:gd name="connsiteX9" fmla="*/ 36986 w 514797"/>
              <a:gd name="connsiteY9" fmla="*/ 55264 h 491718"/>
              <a:gd name="connsiteX10" fmla="*/ 92259 w 514797"/>
              <a:gd name="connsiteY10" fmla="*/ 110528 h 491718"/>
              <a:gd name="connsiteX11" fmla="*/ 92259 w 514797"/>
              <a:gd name="connsiteY11" fmla="*/ 110528 h 491718"/>
              <a:gd name="connsiteX12" fmla="*/ 238544 w 514797"/>
              <a:gd name="connsiteY12" fmla="*/ 251622 h 491718"/>
              <a:gd name="connsiteX13" fmla="*/ 186899 w 514797"/>
              <a:gd name="connsiteY13" fmla="*/ 240411 h 491718"/>
              <a:gd name="connsiteX14" fmla="*/ 186899 w 514797"/>
              <a:gd name="connsiteY14" fmla="*/ 217551 h 491718"/>
              <a:gd name="connsiteX15" fmla="*/ 93450 w 514797"/>
              <a:gd name="connsiteY15" fmla="*/ 124101 h 491718"/>
              <a:gd name="connsiteX16" fmla="*/ 0 w 514797"/>
              <a:gd name="connsiteY16" fmla="*/ 217551 h 491718"/>
              <a:gd name="connsiteX17" fmla="*/ 0 w 514797"/>
              <a:gd name="connsiteY17" fmla="*/ 342643 h 491718"/>
              <a:gd name="connsiteX18" fmla="*/ 43205 w 514797"/>
              <a:gd name="connsiteY18" fmla="*/ 342643 h 491718"/>
              <a:gd name="connsiteX19" fmla="*/ 43205 w 514797"/>
              <a:gd name="connsiteY19" fmla="*/ 217551 h 491718"/>
              <a:gd name="connsiteX20" fmla="*/ 93450 w 514797"/>
              <a:gd name="connsiteY20" fmla="*/ 167307 h 491718"/>
              <a:gd name="connsiteX21" fmla="*/ 143685 w 514797"/>
              <a:gd name="connsiteY21" fmla="*/ 217551 h 491718"/>
              <a:gd name="connsiteX22" fmla="*/ 143685 w 514797"/>
              <a:gd name="connsiteY22" fmla="*/ 225628 h 491718"/>
              <a:gd name="connsiteX23" fmla="*/ 100622 w 514797"/>
              <a:gd name="connsiteY23" fmla="*/ 181756 h 491718"/>
              <a:gd name="connsiteX24" fmla="*/ 70075 w 514797"/>
              <a:gd name="connsiteY24" fmla="*/ 181470 h 491718"/>
              <a:gd name="connsiteX25" fmla="*/ 69790 w 514797"/>
              <a:gd name="connsiteY25" fmla="*/ 212017 h 491718"/>
              <a:gd name="connsiteX26" fmla="*/ 128644 w 514797"/>
              <a:gd name="connsiteY26" fmla="*/ 271977 h 491718"/>
              <a:gd name="connsiteX27" fmla="*/ 229381 w 514797"/>
              <a:gd name="connsiteY27" fmla="*/ 293846 h 491718"/>
              <a:gd name="connsiteX28" fmla="*/ 233991 w 514797"/>
              <a:gd name="connsiteY28" fmla="*/ 294341 h 491718"/>
              <a:gd name="connsiteX29" fmla="*/ 255079 w 514797"/>
              <a:gd name="connsiteY29" fmla="*/ 277320 h 491718"/>
              <a:gd name="connsiteX30" fmla="*/ 238544 w 514797"/>
              <a:gd name="connsiteY30" fmla="*/ 251622 h 491718"/>
              <a:gd name="connsiteX31" fmla="*/ 238544 w 514797"/>
              <a:gd name="connsiteY31" fmla="*/ 251622 h 491718"/>
              <a:gd name="connsiteX32" fmla="*/ 422567 w 514797"/>
              <a:gd name="connsiteY32" fmla="*/ 37043 h 491718"/>
              <a:gd name="connsiteX33" fmla="*/ 440798 w 514797"/>
              <a:gd name="connsiteY33" fmla="*/ 55264 h 491718"/>
              <a:gd name="connsiteX34" fmla="*/ 422567 w 514797"/>
              <a:gd name="connsiteY34" fmla="*/ 73495 h 491718"/>
              <a:gd name="connsiteX35" fmla="*/ 404355 w 514797"/>
              <a:gd name="connsiteY35" fmla="*/ 55264 h 491718"/>
              <a:gd name="connsiteX36" fmla="*/ 422567 w 514797"/>
              <a:gd name="connsiteY36" fmla="*/ 37043 h 491718"/>
              <a:gd name="connsiteX37" fmla="*/ 422567 w 514797"/>
              <a:gd name="connsiteY37" fmla="*/ 37043 h 491718"/>
              <a:gd name="connsiteX38" fmla="*/ 422567 w 514797"/>
              <a:gd name="connsiteY38" fmla="*/ 110528 h 491718"/>
              <a:gd name="connsiteX39" fmla="*/ 477840 w 514797"/>
              <a:gd name="connsiteY39" fmla="*/ 55264 h 491718"/>
              <a:gd name="connsiteX40" fmla="*/ 422567 w 514797"/>
              <a:gd name="connsiteY40" fmla="*/ 0 h 491718"/>
              <a:gd name="connsiteX41" fmla="*/ 367313 w 514797"/>
              <a:gd name="connsiteY41" fmla="*/ 55264 h 491718"/>
              <a:gd name="connsiteX42" fmla="*/ 422567 w 514797"/>
              <a:gd name="connsiteY42" fmla="*/ 110528 h 491718"/>
              <a:gd name="connsiteX43" fmla="*/ 422567 w 514797"/>
              <a:gd name="connsiteY43" fmla="*/ 110528 h 491718"/>
              <a:gd name="connsiteX44" fmla="*/ 421367 w 514797"/>
              <a:gd name="connsiteY44" fmla="*/ 124092 h 491718"/>
              <a:gd name="connsiteX45" fmla="*/ 327917 w 514797"/>
              <a:gd name="connsiteY45" fmla="*/ 217541 h 491718"/>
              <a:gd name="connsiteX46" fmla="*/ 327917 w 514797"/>
              <a:gd name="connsiteY46" fmla="*/ 241945 h 491718"/>
              <a:gd name="connsiteX47" fmla="*/ 285302 w 514797"/>
              <a:gd name="connsiteY47" fmla="*/ 251660 h 491718"/>
              <a:gd name="connsiteX48" fmla="*/ 269043 w 514797"/>
              <a:gd name="connsiteY48" fmla="*/ 277530 h 491718"/>
              <a:gd name="connsiteX49" fmla="*/ 290084 w 514797"/>
              <a:gd name="connsiteY49" fmla="*/ 294332 h 491718"/>
              <a:gd name="connsiteX50" fmla="*/ 294903 w 514797"/>
              <a:gd name="connsiteY50" fmla="*/ 293779 h 491718"/>
              <a:gd name="connsiteX51" fmla="*/ 327908 w 514797"/>
              <a:gd name="connsiteY51" fmla="*/ 286255 h 491718"/>
              <a:gd name="connsiteX52" fmla="*/ 327908 w 514797"/>
              <a:gd name="connsiteY52" fmla="*/ 340576 h 491718"/>
              <a:gd name="connsiteX53" fmla="*/ 371113 w 514797"/>
              <a:gd name="connsiteY53" fmla="*/ 340576 h 491718"/>
              <a:gd name="connsiteX54" fmla="*/ 371113 w 514797"/>
              <a:gd name="connsiteY54" fmla="*/ 217532 h 491718"/>
              <a:gd name="connsiteX55" fmla="*/ 421348 w 514797"/>
              <a:gd name="connsiteY55" fmla="*/ 167287 h 491718"/>
              <a:gd name="connsiteX56" fmla="*/ 471592 w 514797"/>
              <a:gd name="connsiteY56" fmla="*/ 217532 h 491718"/>
              <a:gd name="connsiteX57" fmla="*/ 471592 w 514797"/>
              <a:gd name="connsiteY57" fmla="*/ 338518 h 491718"/>
              <a:gd name="connsiteX58" fmla="*/ 514797 w 514797"/>
              <a:gd name="connsiteY58" fmla="*/ 338518 h 491718"/>
              <a:gd name="connsiteX59" fmla="*/ 514797 w 514797"/>
              <a:gd name="connsiteY59" fmla="*/ 217532 h 491718"/>
              <a:gd name="connsiteX60" fmla="*/ 421367 w 514797"/>
              <a:gd name="connsiteY60" fmla="*/ 124092 h 491718"/>
              <a:gd name="connsiteX61" fmla="*/ 421367 w 514797"/>
              <a:gd name="connsiteY61" fmla="*/ 124092 h 491718"/>
              <a:gd name="connsiteX62" fmla="*/ 442188 w 514797"/>
              <a:gd name="connsiteY62" fmla="*/ 365312 h 491718"/>
              <a:gd name="connsiteX63" fmla="*/ 442188 w 514797"/>
              <a:gd name="connsiteY63" fmla="*/ 204111 h 491718"/>
              <a:gd name="connsiteX64" fmla="*/ 420586 w 514797"/>
              <a:gd name="connsiteY64" fmla="*/ 182508 h 491718"/>
              <a:gd name="connsiteX65" fmla="*/ 398983 w 514797"/>
              <a:gd name="connsiteY65" fmla="*/ 204111 h 491718"/>
              <a:gd name="connsiteX66" fmla="*/ 398983 w 514797"/>
              <a:gd name="connsiteY66" fmla="*/ 365312 h 491718"/>
              <a:gd name="connsiteX67" fmla="*/ 420586 w 514797"/>
              <a:gd name="connsiteY67" fmla="*/ 386915 h 491718"/>
              <a:gd name="connsiteX68" fmla="*/ 442188 w 514797"/>
              <a:gd name="connsiteY68" fmla="*/ 365312 h 491718"/>
              <a:gd name="connsiteX69" fmla="*/ 442188 w 514797"/>
              <a:gd name="connsiteY69" fmla="*/ 365312 h 491718"/>
              <a:gd name="connsiteX70" fmla="*/ 331517 w 514797"/>
              <a:gd name="connsiteY70" fmla="*/ 491719 h 491718"/>
              <a:gd name="connsiteX71" fmla="*/ 514207 w 514797"/>
              <a:gd name="connsiteY71" fmla="*/ 491719 h 491718"/>
              <a:gd name="connsiteX72" fmla="*/ 514207 w 514797"/>
              <a:gd name="connsiteY72" fmla="*/ 390830 h 491718"/>
              <a:gd name="connsiteX73" fmla="*/ 331517 w 514797"/>
              <a:gd name="connsiteY73" fmla="*/ 390582 h 491718"/>
              <a:gd name="connsiteX74" fmla="*/ 331517 w 514797"/>
              <a:gd name="connsiteY74" fmla="*/ 491719 h 491718"/>
              <a:gd name="connsiteX75" fmla="*/ 331517 w 514797"/>
              <a:gd name="connsiteY75" fmla="*/ 491719 h 4917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</a:cxnLst>
            <a:rect l="l" t="t" r="r" b="b"/>
            <a:pathLst>
              <a:path w="514797" h="491718">
                <a:moveTo>
                  <a:pt x="92259" y="37043"/>
                </a:moveTo>
                <a:cubicBezTo>
                  <a:pt x="102298" y="37043"/>
                  <a:pt x="110480" y="45215"/>
                  <a:pt x="110480" y="55264"/>
                </a:cubicBezTo>
                <a:cubicBezTo>
                  <a:pt x="110480" y="65313"/>
                  <a:pt x="102308" y="73495"/>
                  <a:pt x="92259" y="73495"/>
                </a:cubicBezTo>
                <a:cubicBezTo>
                  <a:pt x="82201" y="73495"/>
                  <a:pt x="74028" y="65313"/>
                  <a:pt x="74028" y="55264"/>
                </a:cubicBezTo>
                <a:cubicBezTo>
                  <a:pt x="74019" y="45215"/>
                  <a:pt x="82201" y="37043"/>
                  <a:pt x="92259" y="37043"/>
                </a:cubicBezTo>
                <a:lnTo>
                  <a:pt x="92259" y="37043"/>
                </a:lnTo>
                <a:close/>
                <a:moveTo>
                  <a:pt x="92259" y="110528"/>
                </a:moveTo>
                <a:cubicBezTo>
                  <a:pt x="122777" y="110528"/>
                  <a:pt x="147514" y="85782"/>
                  <a:pt x="147514" y="55264"/>
                </a:cubicBezTo>
                <a:cubicBezTo>
                  <a:pt x="147514" y="24746"/>
                  <a:pt x="122777" y="0"/>
                  <a:pt x="92259" y="0"/>
                </a:cubicBezTo>
                <a:cubicBezTo>
                  <a:pt x="61722" y="0"/>
                  <a:pt x="36986" y="24746"/>
                  <a:pt x="36986" y="55264"/>
                </a:cubicBezTo>
                <a:cubicBezTo>
                  <a:pt x="36986" y="85782"/>
                  <a:pt x="61722" y="110528"/>
                  <a:pt x="92259" y="110528"/>
                </a:cubicBezTo>
                <a:lnTo>
                  <a:pt x="92259" y="110528"/>
                </a:lnTo>
                <a:close/>
                <a:moveTo>
                  <a:pt x="238544" y="251622"/>
                </a:moveTo>
                <a:lnTo>
                  <a:pt x="186899" y="240411"/>
                </a:lnTo>
                <a:lnTo>
                  <a:pt x="186899" y="217551"/>
                </a:lnTo>
                <a:cubicBezTo>
                  <a:pt x="186899" y="166021"/>
                  <a:pt x="144980" y="124101"/>
                  <a:pt x="93450" y="124101"/>
                </a:cubicBezTo>
                <a:cubicBezTo>
                  <a:pt x="41920" y="124101"/>
                  <a:pt x="0" y="166021"/>
                  <a:pt x="0" y="217551"/>
                </a:cubicBezTo>
                <a:lnTo>
                  <a:pt x="0" y="342643"/>
                </a:lnTo>
                <a:lnTo>
                  <a:pt x="43205" y="342643"/>
                </a:lnTo>
                <a:lnTo>
                  <a:pt x="43205" y="217551"/>
                </a:lnTo>
                <a:cubicBezTo>
                  <a:pt x="43205" y="189852"/>
                  <a:pt x="65741" y="167307"/>
                  <a:pt x="93450" y="167307"/>
                </a:cubicBezTo>
                <a:cubicBezTo>
                  <a:pt x="121148" y="167307"/>
                  <a:pt x="143685" y="189843"/>
                  <a:pt x="143685" y="217551"/>
                </a:cubicBezTo>
                <a:lnTo>
                  <a:pt x="143685" y="225628"/>
                </a:lnTo>
                <a:lnTo>
                  <a:pt x="100622" y="181756"/>
                </a:lnTo>
                <a:cubicBezTo>
                  <a:pt x="92268" y="173241"/>
                  <a:pt x="78581" y="173117"/>
                  <a:pt x="70075" y="181470"/>
                </a:cubicBezTo>
                <a:cubicBezTo>
                  <a:pt x="61569" y="189824"/>
                  <a:pt x="61426" y="203502"/>
                  <a:pt x="69790" y="212017"/>
                </a:cubicBezTo>
                <a:lnTo>
                  <a:pt x="128644" y="271977"/>
                </a:lnTo>
                <a:lnTo>
                  <a:pt x="229381" y="293846"/>
                </a:lnTo>
                <a:cubicBezTo>
                  <a:pt x="230933" y="294179"/>
                  <a:pt x="232467" y="294341"/>
                  <a:pt x="233991" y="294341"/>
                </a:cubicBezTo>
                <a:cubicBezTo>
                  <a:pt x="243935" y="294341"/>
                  <a:pt x="252889" y="287436"/>
                  <a:pt x="255079" y="277320"/>
                </a:cubicBezTo>
                <a:cubicBezTo>
                  <a:pt x="257604" y="265652"/>
                  <a:pt x="250202" y="254155"/>
                  <a:pt x="238544" y="251622"/>
                </a:cubicBezTo>
                <a:lnTo>
                  <a:pt x="238544" y="251622"/>
                </a:lnTo>
                <a:close/>
                <a:moveTo>
                  <a:pt x="422567" y="37043"/>
                </a:moveTo>
                <a:cubicBezTo>
                  <a:pt x="432626" y="37043"/>
                  <a:pt x="440798" y="45215"/>
                  <a:pt x="440798" y="55264"/>
                </a:cubicBezTo>
                <a:cubicBezTo>
                  <a:pt x="440798" y="65313"/>
                  <a:pt x="432616" y="73495"/>
                  <a:pt x="422567" y="73495"/>
                </a:cubicBezTo>
                <a:cubicBezTo>
                  <a:pt x="412527" y="73495"/>
                  <a:pt x="404355" y="65313"/>
                  <a:pt x="404355" y="55264"/>
                </a:cubicBezTo>
                <a:cubicBezTo>
                  <a:pt x="404346" y="45215"/>
                  <a:pt x="412518" y="37043"/>
                  <a:pt x="422567" y="37043"/>
                </a:cubicBezTo>
                <a:lnTo>
                  <a:pt x="422567" y="37043"/>
                </a:lnTo>
                <a:close/>
                <a:moveTo>
                  <a:pt x="422567" y="110528"/>
                </a:moveTo>
                <a:cubicBezTo>
                  <a:pt x="453104" y="110528"/>
                  <a:pt x="477840" y="85782"/>
                  <a:pt x="477840" y="55264"/>
                </a:cubicBezTo>
                <a:cubicBezTo>
                  <a:pt x="477840" y="24746"/>
                  <a:pt x="453104" y="0"/>
                  <a:pt x="422567" y="0"/>
                </a:cubicBezTo>
                <a:cubicBezTo>
                  <a:pt x="392049" y="0"/>
                  <a:pt x="367313" y="24746"/>
                  <a:pt x="367313" y="55264"/>
                </a:cubicBezTo>
                <a:cubicBezTo>
                  <a:pt x="367313" y="85782"/>
                  <a:pt x="392049" y="110528"/>
                  <a:pt x="422567" y="110528"/>
                </a:cubicBezTo>
                <a:lnTo>
                  <a:pt x="422567" y="110528"/>
                </a:lnTo>
                <a:close/>
                <a:moveTo>
                  <a:pt x="421367" y="124092"/>
                </a:moveTo>
                <a:cubicBezTo>
                  <a:pt x="369836" y="124092"/>
                  <a:pt x="327917" y="166011"/>
                  <a:pt x="327917" y="217541"/>
                </a:cubicBezTo>
                <a:lnTo>
                  <a:pt x="327917" y="241945"/>
                </a:lnTo>
                <a:lnTo>
                  <a:pt x="285302" y="251660"/>
                </a:lnTo>
                <a:cubicBezTo>
                  <a:pt x="273672" y="254308"/>
                  <a:pt x="266395" y="265890"/>
                  <a:pt x="269043" y="277530"/>
                </a:cubicBezTo>
                <a:cubicBezTo>
                  <a:pt x="271329" y="287541"/>
                  <a:pt x="280235" y="294332"/>
                  <a:pt x="290084" y="294332"/>
                </a:cubicBezTo>
                <a:cubicBezTo>
                  <a:pt x="291674" y="294332"/>
                  <a:pt x="293293" y="294151"/>
                  <a:pt x="294903" y="293779"/>
                </a:cubicBezTo>
                <a:lnTo>
                  <a:pt x="327908" y="286255"/>
                </a:lnTo>
                <a:lnTo>
                  <a:pt x="327908" y="340576"/>
                </a:lnTo>
                <a:lnTo>
                  <a:pt x="371113" y="340576"/>
                </a:lnTo>
                <a:lnTo>
                  <a:pt x="371113" y="217532"/>
                </a:lnTo>
                <a:cubicBezTo>
                  <a:pt x="371113" y="189833"/>
                  <a:pt x="393649" y="167287"/>
                  <a:pt x="421348" y="167287"/>
                </a:cubicBezTo>
                <a:cubicBezTo>
                  <a:pt x="449056" y="167287"/>
                  <a:pt x="471592" y="189824"/>
                  <a:pt x="471592" y="217532"/>
                </a:cubicBezTo>
                <a:lnTo>
                  <a:pt x="471592" y="338518"/>
                </a:lnTo>
                <a:lnTo>
                  <a:pt x="514797" y="338518"/>
                </a:lnTo>
                <a:lnTo>
                  <a:pt x="514797" y="217532"/>
                </a:lnTo>
                <a:cubicBezTo>
                  <a:pt x="514826" y="166021"/>
                  <a:pt x="472897" y="124092"/>
                  <a:pt x="421367" y="124092"/>
                </a:cubicBezTo>
                <a:lnTo>
                  <a:pt x="421367" y="124092"/>
                </a:lnTo>
                <a:close/>
                <a:moveTo>
                  <a:pt x="442188" y="365312"/>
                </a:moveTo>
                <a:lnTo>
                  <a:pt x="442188" y="204111"/>
                </a:lnTo>
                <a:cubicBezTo>
                  <a:pt x="442188" y="192176"/>
                  <a:pt x="432520" y="182508"/>
                  <a:pt x="420586" y="182508"/>
                </a:cubicBezTo>
                <a:cubicBezTo>
                  <a:pt x="408660" y="182508"/>
                  <a:pt x="398983" y="192176"/>
                  <a:pt x="398983" y="204111"/>
                </a:cubicBezTo>
                <a:lnTo>
                  <a:pt x="398983" y="365312"/>
                </a:lnTo>
                <a:cubicBezTo>
                  <a:pt x="398983" y="377247"/>
                  <a:pt x="408660" y="386915"/>
                  <a:pt x="420586" y="386915"/>
                </a:cubicBezTo>
                <a:cubicBezTo>
                  <a:pt x="432520" y="386915"/>
                  <a:pt x="442188" y="377237"/>
                  <a:pt x="442188" y="365312"/>
                </a:cubicBezTo>
                <a:lnTo>
                  <a:pt x="442188" y="365312"/>
                </a:lnTo>
                <a:close/>
                <a:moveTo>
                  <a:pt x="331517" y="491719"/>
                </a:moveTo>
                <a:lnTo>
                  <a:pt x="514207" y="491719"/>
                </a:lnTo>
                <a:lnTo>
                  <a:pt x="514207" y="390830"/>
                </a:lnTo>
                <a:lnTo>
                  <a:pt x="331517" y="390582"/>
                </a:lnTo>
                <a:lnTo>
                  <a:pt x="331517" y="491719"/>
                </a:lnTo>
                <a:lnTo>
                  <a:pt x="331517" y="491719"/>
                </a:lnTo>
                <a:close/>
              </a:path>
            </a:pathLst>
          </a:custGeom>
          <a:solidFill>
            <a:srgbClr val="BF229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9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Lightbulb">
            <a:extLst>
              <a:ext uri="{FF2B5EF4-FFF2-40B4-BE49-F238E27FC236}">
                <a16:creationId xmlns:a16="http://schemas.microsoft.com/office/drawing/2014/main" id="{F8F1D538-9F38-433A-879A-50774463F846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 bwMode="gray">
          <a:xfrm>
            <a:off x="7437478" y="1687061"/>
            <a:ext cx="506372" cy="777240"/>
          </a:xfrm>
          <a:custGeom>
            <a:avLst/>
            <a:gdLst>
              <a:gd name="connsiteX0" fmla="*/ 185338 w 274491"/>
              <a:gd name="connsiteY0" fmla="*/ 258394 h 421328"/>
              <a:gd name="connsiteX1" fmla="*/ 88897 w 274491"/>
              <a:gd name="connsiteY1" fmla="*/ 258423 h 421328"/>
              <a:gd name="connsiteX2" fmla="*/ 82791 w 274491"/>
              <a:gd name="connsiteY2" fmla="*/ 211912 h 421328"/>
              <a:gd name="connsiteX3" fmla="*/ 81449 w 274491"/>
              <a:gd name="connsiteY3" fmla="*/ 212093 h 421328"/>
              <a:gd name="connsiteX4" fmla="*/ 82277 w 274491"/>
              <a:gd name="connsiteY4" fmla="*/ 210979 h 421328"/>
              <a:gd name="connsiteX5" fmla="*/ 45273 w 274491"/>
              <a:gd name="connsiteY5" fmla="*/ 137236 h 421328"/>
              <a:gd name="connsiteX6" fmla="*/ 137236 w 274491"/>
              <a:gd name="connsiteY6" fmla="*/ 45272 h 421328"/>
              <a:gd name="connsiteX7" fmla="*/ 229201 w 274491"/>
              <a:gd name="connsiteY7" fmla="*/ 137236 h 421328"/>
              <a:gd name="connsiteX8" fmla="*/ 191844 w 274491"/>
              <a:gd name="connsiteY8" fmla="*/ 210598 h 421328"/>
              <a:gd name="connsiteX9" fmla="*/ 192739 w 274491"/>
              <a:gd name="connsiteY9" fmla="*/ 211798 h 421328"/>
              <a:gd name="connsiteX10" fmla="*/ 191177 w 274491"/>
              <a:gd name="connsiteY10" fmla="*/ 211598 h 421328"/>
              <a:gd name="connsiteX11" fmla="*/ 185338 w 274491"/>
              <a:gd name="connsiteY11" fmla="*/ 258394 h 421328"/>
              <a:gd name="connsiteX12" fmla="*/ 185338 w 274491"/>
              <a:gd name="connsiteY12" fmla="*/ 258394 h 421328"/>
              <a:gd name="connsiteX13" fmla="*/ 274492 w 274491"/>
              <a:gd name="connsiteY13" fmla="*/ 137236 h 421328"/>
              <a:gd name="connsiteX14" fmla="*/ 137246 w 274491"/>
              <a:gd name="connsiteY14" fmla="*/ 0 h 421328"/>
              <a:gd name="connsiteX15" fmla="*/ 0 w 274491"/>
              <a:gd name="connsiteY15" fmla="*/ 137236 h 421328"/>
              <a:gd name="connsiteX16" fmla="*/ 40015 w 274491"/>
              <a:gd name="connsiteY16" fmla="*/ 233982 h 421328"/>
              <a:gd name="connsiteX17" fmla="*/ 49159 w 274491"/>
              <a:gd name="connsiteY17" fmla="*/ 303724 h 421328"/>
              <a:gd name="connsiteX18" fmla="*/ 225305 w 274491"/>
              <a:gd name="connsiteY18" fmla="*/ 303667 h 421328"/>
              <a:gd name="connsiteX19" fmla="*/ 234039 w 274491"/>
              <a:gd name="connsiteY19" fmla="*/ 233820 h 421328"/>
              <a:gd name="connsiteX20" fmla="*/ 274492 w 274491"/>
              <a:gd name="connsiteY20" fmla="*/ 137236 h 421328"/>
              <a:gd name="connsiteX21" fmla="*/ 274492 w 274491"/>
              <a:gd name="connsiteY21" fmla="*/ 137236 h 421328"/>
              <a:gd name="connsiteX22" fmla="*/ 216561 w 274491"/>
              <a:gd name="connsiteY22" fmla="*/ 313954 h 421328"/>
              <a:gd name="connsiteX23" fmla="*/ 57617 w 274491"/>
              <a:gd name="connsiteY23" fmla="*/ 313992 h 421328"/>
              <a:gd name="connsiteX24" fmla="*/ 57627 w 274491"/>
              <a:gd name="connsiteY24" fmla="*/ 339862 h 421328"/>
              <a:gd name="connsiteX25" fmla="*/ 216570 w 274491"/>
              <a:gd name="connsiteY25" fmla="*/ 339823 h 421328"/>
              <a:gd name="connsiteX26" fmla="*/ 216561 w 274491"/>
              <a:gd name="connsiteY26" fmla="*/ 313954 h 421328"/>
              <a:gd name="connsiteX27" fmla="*/ 216561 w 274491"/>
              <a:gd name="connsiteY27" fmla="*/ 313954 h 421328"/>
              <a:gd name="connsiteX28" fmla="*/ 57627 w 274491"/>
              <a:gd name="connsiteY28" fmla="*/ 375447 h 421328"/>
              <a:gd name="connsiteX29" fmla="*/ 216570 w 274491"/>
              <a:gd name="connsiteY29" fmla="*/ 375409 h 421328"/>
              <a:gd name="connsiteX30" fmla="*/ 216561 w 274491"/>
              <a:gd name="connsiteY30" fmla="*/ 349539 h 421328"/>
              <a:gd name="connsiteX31" fmla="*/ 57617 w 274491"/>
              <a:gd name="connsiteY31" fmla="*/ 349577 h 421328"/>
              <a:gd name="connsiteX32" fmla="*/ 57627 w 274491"/>
              <a:gd name="connsiteY32" fmla="*/ 375447 h 421328"/>
              <a:gd name="connsiteX33" fmla="*/ 57627 w 274491"/>
              <a:gd name="connsiteY33" fmla="*/ 375447 h 421328"/>
              <a:gd name="connsiteX34" fmla="*/ 206855 w 274491"/>
              <a:gd name="connsiteY34" fmla="*/ 385115 h 421328"/>
              <a:gd name="connsiteX35" fmla="*/ 67323 w 274491"/>
              <a:gd name="connsiteY35" fmla="*/ 385153 h 421328"/>
              <a:gd name="connsiteX36" fmla="*/ 67333 w 274491"/>
              <a:gd name="connsiteY36" fmla="*/ 409480 h 421328"/>
              <a:gd name="connsiteX37" fmla="*/ 56693 w 274491"/>
              <a:gd name="connsiteY37" fmla="*/ 409480 h 421328"/>
              <a:gd name="connsiteX38" fmla="*/ 68590 w 274491"/>
              <a:gd name="connsiteY38" fmla="*/ 412661 h 421328"/>
              <a:gd name="connsiteX39" fmla="*/ 137256 w 274491"/>
              <a:gd name="connsiteY39" fmla="*/ 421329 h 421328"/>
              <a:gd name="connsiteX40" fmla="*/ 205921 w 274491"/>
              <a:gd name="connsiteY40" fmla="*/ 412661 h 421328"/>
              <a:gd name="connsiteX41" fmla="*/ 217818 w 274491"/>
              <a:gd name="connsiteY41" fmla="*/ 409480 h 421328"/>
              <a:gd name="connsiteX42" fmla="*/ 206873 w 274491"/>
              <a:gd name="connsiteY42" fmla="*/ 409480 h 421328"/>
              <a:gd name="connsiteX43" fmla="*/ 206855 w 274491"/>
              <a:gd name="connsiteY43" fmla="*/ 385115 h 421328"/>
              <a:gd name="connsiteX44" fmla="*/ 206855 w 274491"/>
              <a:gd name="connsiteY44" fmla="*/ 385115 h 421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274491" h="421328">
                <a:moveTo>
                  <a:pt x="185338" y="258394"/>
                </a:moveTo>
                <a:lnTo>
                  <a:pt x="88897" y="258423"/>
                </a:lnTo>
                <a:lnTo>
                  <a:pt x="82791" y="211912"/>
                </a:lnTo>
                <a:lnTo>
                  <a:pt x="81449" y="212093"/>
                </a:lnTo>
                <a:lnTo>
                  <a:pt x="82277" y="210979"/>
                </a:lnTo>
                <a:cubicBezTo>
                  <a:pt x="58760" y="193415"/>
                  <a:pt x="45273" y="166535"/>
                  <a:pt x="45273" y="137236"/>
                </a:cubicBezTo>
                <a:cubicBezTo>
                  <a:pt x="45273" y="86525"/>
                  <a:pt x="86526" y="45272"/>
                  <a:pt x="137236" y="45272"/>
                </a:cubicBezTo>
                <a:cubicBezTo>
                  <a:pt x="187947" y="45272"/>
                  <a:pt x="229201" y="86525"/>
                  <a:pt x="229201" y="137236"/>
                </a:cubicBezTo>
                <a:cubicBezTo>
                  <a:pt x="229201" y="166135"/>
                  <a:pt x="215589" y="192872"/>
                  <a:pt x="191844" y="210598"/>
                </a:cubicBezTo>
                <a:lnTo>
                  <a:pt x="192739" y="211798"/>
                </a:lnTo>
                <a:lnTo>
                  <a:pt x="191177" y="211598"/>
                </a:lnTo>
                <a:lnTo>
                  <a:pt x="185338" y="258394"/>
                </a:lnTo>
                <a:lnTo>
                  <a:pt x="185338" y="258394"/>
                </a:lnTo>
                <a:close/>
                <a:moveTo>
                  <a:pt x="274492" y="137236"/>
                </a:moveTo>
                <a:cubicBezTo>
                  <a:pt x="274492" y="61560"/>
                  <a:pt x="212922" y="0"/>
                  <a:pt x="137246" y="0"/>
                </a:cubicBezTo>
                <a:cubicBezTo>
                  <a:pt x="61570" y="0"/>
                  <a:pt x="0" y="61570"/>
                  <a:pt x="0" y="137236"/>
                </a:cubicBezTo>
                <a:cubicBezTo>
                  <a:pt x="0" y="173555"/>
                  <a:pt x="14707" y="208455"/>
                  <a:pt x="40015" y="233982"/>
                </a:cubicBezTo>
                <a:lnTo>
                  <a:pt x="49159" y="303724"/>
                </a:lnTo>
                <a:lnTo>
                  <a:pt x="225305" y="303667"/>
                </a:lnTo>
                <a:lnTo>
                  <a:pt x="234039" y="233820"/>
                </a:lnTo>
                <a:cubicBezTo>
                  <a:pt x="259928" y="208159"/>
                  <a:pt x="274492" y="173917"/>
                  <a:pt x="274492" y="137236"/>
                </a:cubicBezTo>
                <a:lnTo>
                  <a:pt x="274492" y="137236"/>
                </a:lnTo>
                <a:close/>
                <a:moveTo>
                  <a:pt x="216561" y="313954"/>
                </a:moveTo>
                <a:lnTo>
                  <a:pt x="57617" y="313992"/>
                </a:lnTo>
                <a:lnTo>
                  <a:pt x="57627" y="339862"/>
                </a:lnTo>
                <a:lnTo>
                  <a:pt x="216570" y="339823"/>
                </a:lnTo>
                <a:lnTo>
                  <a:pt x="216561" y="313954"/>
                </a:lnTo>
                <a:lnTo>
                  <a:pt x="216561" y="313954"/>
                </a:lnTo>
                <a:close/>
                <a:moveTo>
                  <a:pt x="57627" y="375447"/>
                </a:moveTo>
                <a:lnTo>
                  <a:pt x="216570" y="375409"/>
                </a:lnTo>
                <a:lnTo>
                  <a:pt x="216561" y="349539"/>
                </a:lnTo>
                <a:lnTo>
                  <a:pt x="57617" y="349577"/>
                </a:lnTo>
                <a:lnTo>
                  <a:pt x="57627" y="375447"/>
                </a:lnTo>
                <a:lnTo>
                  <a:pt x="57627" y="375447"/>
                </a:lnTo>
                <a:close/>
                <a:moveTo>
                  <a:pt x="206855" y="385115"/>
                </a:moveTo>
                <a:lnTo>
                  <a:pt x="67323" y="385153"/>
                </a:lnTo>
                <a:lnTo>
                  <a:pt x="67333" y="409480"/>
                </a:lnTo>
                <a:lnTo>
                  <a:pt x="56693" y="409480"/>
                </a:lnTo>
                <a:lnTo>
                  <a:pt x="68590" y="412661"/>
                </a:lnTo>
                <a:cubicBezTo>
                  <a:pt x="90097" y="418414"/>
                  <a:pt x="113195" y="421329"/>
                  <a:pt x="137256" y="421329"/>
                </a:cubicBezTo>
                <a:cubicBezTo>
                  <a:pt x="161306" y="421329"/>
                  <a:pt x="184414" y="418414"/>
                  <a:pt x="205921" y="412661"/>
                </a:cubicBezTo>
                <a:lnTo>
                  <a:pt x="217818" y="409480"/>
                </a:lnTo>
                <a:lnTo>
                  <a:pt x="206873" y="409480"/>
                </a:lnTo>
                <a:lnTo>
                  <a:pt x="206855" y="385115"/>
                </a:lnTo>
                <a:lnTo>
                  <a:pt x="206855" y="385115"/>
                </a:lnTo>
                <a:close/>
              </a:path>
            </a:pathLst>
          </a:custGeom>
          <a:solidFill>
            <a:srgbClr val="BF229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9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AB4380BF-52D0-E893-B663-09C08EAB14A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87388" y="6381353"/>
            <a:ext cx="2484276" cy="215999"/>
          </a:xfrm>
        </p:spPr>
        <p:txBody>
          <a:bodyPr lIns="0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kern="1200"/>
              <a:t>Clearstream | Deutsche Börse Group</a:t>
            </a:r>
            <a:endParaRPr lang="en-GB" kern="1200" noProof="0"/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E02BBA1D-41FA-6ECA-FB78-7C39D15A8E0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5806768" y="6381352"/>
            <a:ext cx="576064" cy="216000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72C9EDE-4A13-4E4A-9EAA-A59A97CC9CE2}" type="slidenum">
              <a:rPr lang="en-GB" kern="1200" noProof="0"/>
              <a:pPr>
                <a:lnSpc>
                  <a:spcPct val="90000"/>
                </a:lnSpc>
                <a:spcAft>
                  <a:spcPts val="600"/>
                </a:spcAft>
              </a:pPr>
              <a:t>2</a:t>
            </a:fld>
            <a:endParaRPr lang="en-GB" kern="1200" noProof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606C943-81C6-2D78-45A6-B2CE1C20813A}"/>
              </a:ext>
            </a:extLst>
          </p:cNvPr>
          <p:cNvSpPr/>
          <p:nvPr/>
        </p:nvSpPr>
        <p:spPr>
          <a:xfrm>
            <a:off x="5806768" y="6597352"/>
            <a:ext cx="576064" cy="215999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err="1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20281149"/>
      </p:ext>
    </p:extLst>
  </p:cSld>
  <p:clrMapOvr>
    <a:masterClrMapping/>
  </p:clrMapOvr>
  <p:transition spd="slow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493B66-1A95-8362-1F09-054D626A70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88" y="368300"/>
            <a:ext cx="11017224" cy="934900"/>
          </a:xfrm>
        </p:spPr>
        <p:txBody>
          <a:bodyPr vert="horz" lIns="0" tIns="0" rIns="0" bIns="0" rtlCol="0" anchor="t" anchorCtr="0">
            <a:normAutofit/>
          </a:bodyPr>
          <a:lstStyle/>
          <a:p>
            <a:pPr>
              <a:lnSpc>
                <a:spcPct val="100000"/>
              </a:lnSpc>
            </a:pPr>
            <a:r>
              <a:rPr lang="es-ES" dirty="0"/>
              <a:t>Servicio de gestión de colateral en Clearstream para infraestructuras de mercado</a:t>
            </a:r>
            <a:endParaRPr lang="en-GB" b="1" kern="1200" dirty="0">
              <a:latin typeface="+mj-lt"/>
              <a:ea typeface="+mj-ea"/>
              <a:cs typeface="+mj-cs"/>
            </a:endParaRP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6B95C3BD-36C8-C463-2D0E-F94DE079D537}"/>
              </a:ext>
            </a:extLst>
          </p:cNvPr>
          <p:cNvSpPr txBox="1">
            <a:spLocks/>
          </p:cNvSpPr>
          <p:nvPr/>
        </p:nvSpPr>
        <p:spPr bwMode="gray">
          <a:xfrm>
            <a:off x="587376" y="2746455"/>
            <a:ext cx="5413375" cy="227861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dirty="0"/>
              <a:t>Clearstream cuenta con </a:t>
            </a:r>
            <a:r>
              <a:rPr lang="es-ES" b="1" dirty="0">
                <a:solidFill>
                  <a:schemeClr val="accent4"/>
                </a:solidFill>
              </a:rPr>
              <a:t>&gt; 11 años de amplia experiencia apoyando a las infraestructuras del mercado. </a:t>
            </a:r>
            <a:r>
              <a:rPr lang="es-ES" dirty="0"/>
              <a:t>Trabajamos en varios productos, incluyendo la creación de un servicio de gestión de colateral nacional en respuesta a una creciente demanda del mercado.</a:t>
            </a:r>
            <a:endParaRPr lang="en-US" kern="12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1C9736-D8A5-60F6-489E-0CD45D2BD98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87388" y="6381353"/>
            <a:ext cx="2484276" cy="215999"/>
          </a:xfrm>
        </p:spPr>
        <p:txBody>
          <a:bodyPr lIns="0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kern="1200">
                <a:latin typeface="+mn-lt"/>
                <a:ea typeface="+mn-ea"/>
                <a:cs typeface="+mn-cs"/>
              </a:rPr>
              <a:t>Clearstream | Deutsche Börse Group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33CDB4-64C8-3C9A-7E98-97AAE3A58D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5806768" y="6381352"/>
            <a:ext cx="576064" cy="216000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72C9EDE-4A13-4E4A-9EAA-A59A97CC9CE2}" type="slidenum">
              <a:rPr lang="en-GB" kern="1200">
                <a:latin typeface="+mn-lt"/>
                <a:ea typeface="+mn-ea"/>
                <a:cs typeface="+mn-cs"/>
              </a:rPr>
              <a:pPr>
                <a:lnSpc>
                  <a:spcPct val="90000"/>
                </a:lnSpc>
                <a:spcAft>
                  <a:spcPts val="600"/>
                </a:spcAft>
              </a:pPr>
              <a:t>3</a:t>
            </a:fld>
            <a:endParaRPr lang="en-GB" kern="1200">
              <a:latin typeface="+mn-lt"/>
              <a:ea typeface="+mn-ea"/>
              <a:cs typeface="+mn-cs"/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A77855E7-4CF1-3ADC-ED9B-8FD975138233}"/>
              </a:ext>
            </a:extLst>
          </p:cNvPr>
          <p:cNvSpPr/>
          <p:nvPr/>
        </p:nvSpPr>
        <p:spPr>
          <a:xfrm>
            <a:off x="7978255" y="1718554"/>
            <a:ext cx="1828803" cy="640076"/>
          </a:xfrm>
          <a:custGeom>
            <a:avLst/>
            <a:gdLst>
              <a:gd name="connsiteX0" fmla="*/ 0 w 1828803"/>
              <a:gd name="connsiteY0" fmla="*/ 106681 h 640076"/>
              <a:gd name="connsiteX1" fmla="*/ 106681 w 1828803"/>
              <a:gd name="connsiteY1" fmla="*/ 0 h 640076"/>
              <a:gd name="connsiteX2" fmla="*/ 1722122 w 1828803"/>
              <a:gd name="connsiteY2" fmla="*/ 0 h 640076"/>
              <a:gd name="connsiteX3" fmla="*/ 1828803 w 1828803"/>
              <a:gd name="connsiteY3" fmla="*/ 106681 h 640076"/>
              <a:gd name="connsiteX4" fmla="*/ 1828803 w 1828803"/>
              <a:gd name="connsiteY4" fmla="*/ 533395 h 640076"/>
              <a:gd name="connsiteX5" fmla="*/ 1722122 w 1828803"/>
              <a:gd name="connsiteY5" fmla="*/ 640076 h 640076"/>
              <a:gd name="connsiteX6" fmla="*/ 106681 w 1828803"/>
              <a:gd name="connsiteY6" fmla="*/ 640076 h 640076"/>
              <a:gd name="connsiteX7" fmla="*/ 0 w 1828803"/>
              <a:gd name="connsiteY7" fmla="*/ 533395 h 640076"/>
              <a:gd name="connsiteX8" fmla="*/ 0 w 1828803"/>
              <a:gd name="connsiteY8" fmla="*/ 106681 h 6400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28803" h="640076">
                <a:moveTo>
                  <a:pt x="0" y="106681"/>
                </a:moveTo>
                <a:cubicBezTo>
                  <a:pt x="0" y="47763"/>
                  <a:pt x="47763" y="0"/>
                  <a:pt x="106681" y="0"/>
                </a:cubicBezTo>
                <a:lnTo>
                  <a:pt x="1722122" y="0"/>
                </a:lnTo>
                <a:cubicBezTo>
                  <a:pt x="1781040" y="0"/>
                  <a:pt x="1828803" y="47763"/>
                  <a:pt x="1828803" y="106681"/>
                </a:cubicBezTo>
                <a:lnTo>
                  <a:pt x="1828803" y="533395"/>
                </a:lnTo>
                <a:cubicBezTo>
                  <a:pt x="1828803" y="592313"/>
                  <a:pt x="1781040" y="640076"/>
                  <a:pt x="1722122" y="640076"/>
                </a:cubicBezTo>
                <a:lnTo>
                  <a:pt x="106681" y="640076"/>
                </a:lnTo>
                <a:cubicBezTo>
                  <a:pt x="47763" y="640076"/>
                  <a:pt x="0" y="592313"/>
                  <a:pt x="0" y="533395"/>
                </a:cubicBezTo>
                <a:lnTo>
                  <a:pt x="0" y="106681"/>
                </a:lnTo>
                <a:close/>
              </a:path>
            </a:pathLst>
          </a:custGeom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6966" tIns="76966" rIns="76966" bIns="76966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419" sz="1200" b="1" kern="1200"/>
              <a:t>Mitigación de riesgos</a:t>
            </a: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9A19DD91-37B3-B302-3F3D-CA19C5DBB996}"/>
              </a:ext>
            </a:extLst>
          </p:cNvPr>
          <p:cNvSpPr/>
          <p:nvPr/>
        </p:nvSpPr>
        <p:spPr>
          <a:xfrm>
            <a:off x="7045486" y="2038592"/>
            <a:ext cx="3694341" cy="3694341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2860195" y="302560"/>
                </a:moveTo>
                <a:arcTo wR="1847170" hR="1847170" stAng="18195520" swAng="650112"/>
              </a:path>
            </a:pathLst>
          </a:custGeom>
          <a:noFill/>
          <a:ln>
            <a:tailEnd type="arrow"/>
          </a:ln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1401AD63-C58B-64B1-44C1-ADF8B380B678}"/>
              </a:ext>
            </a:extLst>
          </p:cNvPr>
          <p:cNvSpPr/>
          <p:nvPr/>
        </p:nvSpPr>
        <p:spPr>
          <a:xfrm>
            <a:off x="9577951" y="2642139"/>
            <a:ext cx="1828803" cy="640076"/>
          </a:xfrm>
          <a:custGeom>
            <a:avLst/>
            <a:gdLst>
              <a:gd name="connsiteX0" fmla="*/ 0 w 1828803"/>
              <a:gd name="connsiteY0" fmla="*/ 106681 h 640076"/>
              <a:gd name="connsiteX1" fmla="*/ 106681 w 1828803"/>
              <a:gd name="connsiteY1" fmla="*/ 0 h 640076"/>
              <a:gd name="connsiteX2" fmla="*/ 1722122 w 1828803"/>
              <a:gd name="connsiteY2" fmla="*/ 0 h 640076"/>
              <a:gd name="connsiteX3" fmla="*/ 1828803 w 1828803"/>
              <a:gd name="connsiteY3" fmla="*/ 106681 h 640076"/>
              <a:gd name="connsiteX4" fmla="*/ 1828803 w 1828803"/>
              <a:gd name="connsiteY4" fmla="*/ 533395 h 640076"/>
              <a:gd name="connsiteX5" fmla="*/ 1722122 w 1828803"/>
              <a:gd name="connsiteY5" fmla="*/ 640076 h 640076"/>
              <a:gd name="connsiteX6" fmla="*/ 106681 w 1828803"/>
              <a:gd name="connsiteY6" fmla="*/ 640076 h 640076"/>
              <a:gd name="connsiteX7" fmla="*/ 0 w 1828803"/>
              <a:gd name="connsiteY7" fmla="*/ 533395 h 640076"/>
              <a:gd name="connsiteX8" fmla="*/ 0 w 1828803"/>
              <a:gd name="connsiteY8" fmla="*/ 106681 h 6400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28803" h="640076">
                <a:moveTo>
                  <a:pt x="0" y="106681"/>
                </a:moveTo>
                <a:cubicBezTo>
                  <a:pt x="0" y="47763"/>
                  <a:pt x="47763" y="0"/>
                  <a:pt x="106681" y="0"/>
                </a:cubicBezTo>
                <a:lnTo>
                  <a:pt x="1722122" y="0"/>
                </a:lnTo>
                <a:cubicBezTo>
                  <a:pt x="1781040" y="0"/>
                  <a:pt x="1828803" y="47763"/>
                  <a:pt x="1828803" y="106681"/>
                </a:cubicBezTo>
                <a:lnTo>
                  <a:pt x="1828803" y="533395"/>
                </a:lnTo>
                <a:cubicBezTo>
                  <a:pt x="1828803" y="592313"/>
                  <a:pt x="1781040" y="640076"/>
                  <a:pt x="1722122" y="640076"/>
                </a:cubicBezTo>
                <a:lnTo>
                  <a:pt x="106681" y="640076"/>
                </a:lnTo>
                <a:cubicBezTo>
                  <a:pt x="47763" y="640076"/>
                  <a:pt x="0" y="592313"/>
                  <a:pt x="0" y="533395"/>
                </a:cubicBezTo>
                <a:lnTo>
                  <a:pt x="0" y="106681"/>
                </a:lnTo>
                <a:close/>
              </a:path>
            </a:pathLst>
          </a:custGeom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6966" tIns="76966" rIns="76966" bIns="76966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b="1" kern="1200" dirty="0"/>
              <a:t>Gestión de  liquidez</a:t>
            </a: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621FC4D6-19B6-33AA-78D8-7A070EAC7EA3}"/>
              </a:ext>
            </a:extLst>
          </p:cNvPr>
          <p:cNvSpPr/>
          <p:nvPr/>
        </p:nvSpPr>
        <p:spPr>
          <a:xfrm>
            <a:off x="7045486" y="2038592"/>
            <a:ext cx="3694341" cy="3694341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3656724" y="1476290"/>
                </a:moveTo>
                <a:arcTo wR="1847170" hR="1847170" stAng="20905035" swAng="1389929"/>
              </a:path>
            </a:pathLst>
          </a:custGeom>
          <a:noFill/>
          <a:ln>
            <a:tailEnd type="arrow"/>
          </a:ln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60B50F28-4D51-519A-7D6F-7E18726D0D39}"/>
              </a:ext>
            </a:extLst>
          </p:cNvPr>
          <p:cNvSpPr/>
          <p:nvPr/>
        </p:nvSpPr>
        <p:spPr>
          <a:xfrm>
            <a:off x="9577951" y="4349610"/>
            <a:ext cx="1828803" cy="640076"/>
          </a:xfrm>
          <a:custGeom>
            <a:avLst/>
            <a:gdLst>
              <a:gd name="connsiteX0" fmla="*/ 0 w 1828803"/>
              <a:gd name="connsiteY0" fmla="*/ 106681 h 640076"/>
              <a:gd name="connsiteX1" fmla="*/ 106681 w 1828803"/>
              <a:gd name="connsiteY1" fmla="*/ 0 h 640076"/>
              <a:gd name="connsiteX2" fmla="*/ 1722122 w 1828803"/>
              <a:gd name="connsiteY2" fmla="*/ 0 h 640076"/>
              <a:gd name="connsiteX3" fmla="*/ 1828803 w 1828803"/>
              <a:gd name="connsiteY3" fmla="*/ 106681 h 640076"/>
              <a:gd name="connsiteX4" fmla="*/ 1828803 w 1828803"/>
              <a:gd name="connsiteY4" fmla="*/ 533395 h 640076"/>
              <a:gd name="connsiteX5" fmla="*/ 1722122 w 1828803"/>
              <a:gd name="connsiteY5" fmla="*/ 640076 h 640076"/>
              <a:gd name="connsiteX6" fmla="*/ 106681 w 1828803"/>
              <a:gd name="connsiteY6" fmla="*/ 640076 h 640076"/>
              <a:gd name="connsiteX7" fmla="*/ 0 w 1828803"/>
              <a:gd name="connsiteY7" fmla="*/ 533395 h 640076"/>
              <a:gd name="connsiteX8" fmla="*/ 0 w 1828803"/>
              <a:gd name="connsiteY8" fmla="*/ 106681 h 6400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28803" h="640076">
                <a:moveTo>
                  <a:pt x="0" y="106681"/>
                </a:moveTo>
                <a:cubicBezTo>
                  <a:pt x="0" y="47763"/>
                  <a:pt x="47763" y="0"/>
                  <a:pt x="106681" y="0"/>
                </a:cubicBezTo>
                <a:lnTo>
                  <a:pt x="1722122" y="0"/>
                </a:lnTo>
                <a:cubicBezTo>
                  <a:pt x="1781040" y="0"/>
                  <a:pt x="1828803" y="47763"/>
                  <a:pt x="1828803" y="106681"/>
                </a:cubicBezTo>
                <a:lnTo>
                  <a:pt x="1828803" y="533395"/>
                </a:lnTo>
                <a:cubicBezTo>
                  <a:pt x="1828803" y="592313"/>
                  <a:pt x="1781040" y="640076"/>
                  <a:pt x="1722122" y="640076"/>
                </a:cubicBezTo>
                <a:lnTo>
                  <a:pt x="106681" y="640076"/>
                </a:lnTo>
                <a:cubicBezTo>
                  <a:pt x="47763" y="640076"/>
                  <a:pt x="0" y="592313"/>
                  <a:pt x="0" y="533395"/>
                </a:cubicBezTo>
                <a:lnTo>
                  <a:pt x="0" y="106681"/>
                </a:lnTo>
                <a:close/>
              </a:path>
            </a:pathLst>
          </a:custGeom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6966" tIns="76966" rIns="76966" bIns="76966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b="1" kern="1200"/>
              <a:t>Alcance global</a:t>
            </a: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7269B21F-A517-C486-1A6F-EF3FF465A963}"/>
              </a:ext>
            </a:extLst>
          </p:cNvPr>
          <p:cNvSpPr/>
          <p:nvPr/>
        </p:nvSpPr>
        <p:spPr>
          <a:xfrm>
            <a:off x="7278181" y="2197100"/>
            <a:ext cx="3224719" cy="4762500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3132498" y="3173809"/>
                </a:moveTo>
                <a:arcTo wR="1847170" hR="1847170" stAng="2754368" swAng="650112"/>
              </a:path>
            </a:pathLst>
          </a:custGeom>
          <a:noFill/>
          <a:ln>
            <a:tailEnd type="arrow"/>
          </a:ln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BA5D21A1-A967-7377-E47E-977CB263D6AF}"/>
              </a:ext>
            </a:extLst>
          </p:cNvPr>
          <p:cNvSpPr/>
          <p:nvPr/>
        </p:nvSpPr>
        <p:spPr>
          <a:xfrm>
            <a:off x="7978255" y="5412895"/>
            <a:ext cx="1828803" cy="640076"/>
          </a:xfrm>
          <a:custGeom>
            <a:avLst/>
            <a:gdLst>
              <a:gd name="connsiteX0" fmla="*/ 0 w 1828803"/>
              <a:gd name="connsiteY0" fmla="*/ 106681 h 640076"/>
              <a:gd name="connsiteX1" fmla="*/ 106681 w 1828803"/>
              <a:gd name="connsiteY1" fmla="*/ 0 h 640076"/>
              <a:gd name="connsiteX2" fmla="*/ 1722122 w 1828803"/>
              <a:gd name="connsiteY2" fmla="*/ 0 h 640076"/>
              <a:gd name="connsiteX3" fmla="*/ 1828803 w 1828803"/>
              <a:gd name="connsiteY3" fmla="*/ 106681 h 640076"/>
              <a:gd name="connsiteX4" fmla="*/ 1828803 w 1828803"/>
              <a:gd name="connsiteY4" fmla="*/ 533395 h 640076"/>
              <a:gd name="connsiteX5" fmla="*/ 1722122 w 1828803"/>
              <a:gd name="connsiteY5" fmla="*/ 640076 h 640076"/>
              <a:gd name="connsiteX6" fmla="*/ 106681 w 1828803"/>
              <a:gd name="connsiteY6" fmla="*/ 640076 h 640076"/>
              <a:gd name="connsiteX7" fmla="*/ 0 w 1828803"/>
              <a:gd name="connsiteY7" fmla="*/ 533395 h 640076"/>
              <a:gd name="connsiteX8" fmla="*/ 0 w 1828803"/>
              <a:gd name="connsiteY8" fmla="*/ 106681 h 6400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28803" h="640076">
                <a:moveTo>
                  <a:pt x="0" y="106681"/>
                </a:moveTo>
                <a:cubicBezTo>
                  <a:pt x="0" y="47763"/>
                  <a:pt x="47763" y="0"/>
                  <a:pt x="106681" y="0"/>
                </a:cubicBezTo>
                <a:lnTo>
                  <a:pt x="1722122" y="0"/>
                </a:lnTo>
                <a:cubicBezTo>
                  <a:pt x="1781040" y="0"/>
                  <a:pt x="1828803" y="47763"/>
                  <a:pt x="1828803" y="106681"/>
                </a:cubicBezTo>
                <a:lnTo>
                  <a:pt x="1828803" y="533395"/>
                </a:lnTo>
                <a:cubicBezTo>
                  <a:pt x="1828803" y="592313"/>
                  <a:pt x="1781040" y="640076"/>
                  <a:pt x="1722122" y="640076"/>
                </a:cubicBezTo>
                <a:lnTo>
                  <a:pt x="106681" y="640076"/>
                </a:lnTo>
                <a:cubicBezTo>
                  <a:pt x="47763" y="640076"/>
                  <a:pt x="0" y="592313"/>
                  <a:pt x="0" y="533395"/>
                </a:cubicBezTo>
                <a:lnTo>
                  <a:pt x="0" y="106681"/>
                </a:lnTo>
                <a:close/>
              </a:path>
            </a:pathLst>
          </a:custGeom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6966" tIns="76966" rIns="76966" bIns="76966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419" sz="1200" b="1" kern="1200" noProof="0" dirty="0"/>
              <a:t>Regulatorio &amp; Cumplimiento</a:t>
            </a:r>
            <a:endParaRPr lang="es-419" sz="1200" kern="1200" noProof="0" dirty="0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BCFBB71F-BEA0-8571-E279-53D210BB58F9}"/>
              </a:ext>
            </a:extLst>
          </p:cNvPr>
          <p:cNvSpPr/>
          <p:nvPr/>
        </p:nvSpPr>
        <p:spPr>
          <a:xfrm>
            <a:off x="6896100" y="2140192"/>
            <a:ext cx="3843727" cy="3694341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834145" y="3391780"/>
                </a:moveTo>
                <a:arcTo wR="1847170" hR="1847170" stAng="7395520" swAng="650112"/>
              </a:path>
            </a:pathLst>
          </a:custGeom>
          <a:noFill/>
          <a:ln>
            <a:tailEnd type="arrow"/>
          </a:ln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2A430A6B-662A-F4F3-52F9-26D5CAEA7DDD}"/>
              </a:ext>
            </a:extLst>
          </p:cNvPr>
          <p:cNvSpPr/>
          <p:nvPr/>
        </p:nvSpPr>
        <p:spPr>
          <a:xfrm>
            <a:off x="6378558" y="4349610"/>
            <a:ext cx="1828803" cy="640076"/>
          </a:xfrm>
          <a:custGeom>
            <a:avLst/>
            <a:gdLst>
              <a:gd name="connsiteX0" fmla="*/ 0 w 1828803"/>
              <a:gd name="connsiteY0" fmla="*/ 106681 h 640076"/>
              <a:gd name="connsiteX1" fmla="*/ 106681 w 1828803"/>
              <a:gd name="connsiteY1" fmla="*/ 0 h 640076"/>
              <a:gd name="connsiteX2" fmla="*/ 1722122 w 1828803"/>
              <a:gd name="connsiteY2" fmla="*/ 0 h 640076"/>
              <a:gd name="connsiteX3" fmla="*/ 1828803 w 1828803"/>
              <a:gd name="connsiteY3" fmla="*/ 106681 h 640076"/>
              <a:gd name="connsiteX4" fmla="*/ 1828803 w 1828803"/>
              <a:gd name="connsiteY4" fmla="*/ 533395 h 640076"/>
              <a:gd name="connsiteX5" fmla="*/ 1722122 w 1828803"/>
              <a:gd name="connsiteY5" fmla="*/ 640076 h 640076"/>
              <a:gd name="connsiteX6" fmla="*/ 106681 w 1828803"/>
              <a:gd name="connsiteY6" fmla="*/ 640076 h 640076"/>
              <a:gd name="connsiteX7" fmla="*/ 0 w 1828803"/>
              <a:gd name="connsiteY7" fmla="*/ 533395 h 640076"/>
              <a:gd name="connsiteX8" fmla="*/ 0 w 1828803"/>
              <a:gd name="connsiteY8" fmla="*/ 106681 h 6400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28803" h="640076">
                <a:moveTo>
                  <a:pt x="0" y="106681"/>
                </a:moveTo>
                <a:cubicBezTo>
                  <a:pt x="0" y="47763"/>
                  <a:pt x="47763" y="0"/>
                  <a:pt x="106681" y="0"/>
                </a:cubicBezTo>
                <a:lnTo>
                  <a:pt x="1722122" y="0"/>
                </a:lnTo>
                <a:cubicBezTo>
                  <a:pt x="1781040" y="0"/>
                  <a:pt x="1828803" y="47763"/>
                  <a:pt x="1828803" y="106681"/>
                </a:cubicBezTo>
                <a:lnTo>
                  <a:pt x="1828803" y="533395"/>
                </a:lnTo>
                <a:cubicBezTo>
                  <a:pt x="1828803" y="592313"/>
                  <a:pt x="1781040" y="640076"/>
                  <a:pt x="1722122" y="640076"/>
                </a:cubicBezTo>
                <a:lnTo>
                  <a:pt x="106681" y="640076"/>
                </a:lnTo>
                <a:cubicBezTo>
                  <a:pt x="47763" y="640076"/>
                  <a:pt x="0" y="592313"/>
                  <a:pt x="0" y="533395"/>
                </a:cubicBezTo>
                <a:lnTo>
                  <a:pt x="0" y="106681"/>
                </a:lnTo>
                <a:close/>
              </a:path>
            </a:pathLst>
          </a:custGeom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6966" tIns="76966" rIns="76966" bIns="76966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419" sz="1200" b="1" kern="1200" noProof="0" dirty="0"/>
              <a:t>Innovación Tecnológica</a:t>
            </a:r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6A643736-2FC5-292B-2BB7-07550C27A519}"/>
              </a:ext>
            </a:extLst>
          </p:cNvPr>
          <p:cNvSpPr/>
          <p:nvPr/>
        </p:nvSpPr>
        <p:spPr>
          <a:xfrm>
            <a:off x="7045486" y="2038592"/>
            <a:ext cx="5781514" cy="2092581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37616" y="2218050"/>
                </a:moveTo>
                <a:arcTo wR="1847170" hR="1847170" stAng="10105035" swAng="1389929"/>
              </a:path>
            </a:pathLst>
          </a:custGeom>
          <a:noFill/>
          <a:ln>
            <a:tailEnd type="arrow"/>
          </a:ln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4C2F4AF4-B818-4AE3-BA55-E8A6B08CB5A3}"/>
              </a:ext>
            </a:extLst>
          </p:cNvPr>
          <p:cNvSpPr/>
          <p:nvPr/>
        </p:nvSpPr>
        <p:spPr>
          <a:xfrm>
            <a:off x="6378558" y="2642139"/>
            <a:ext cx="1828803" cy="640076"/>
          </a:xfrm>
          <a:custGeom>
            <a:avLst/>
            <a:gdLst>
              <a:gd name="connsiteX0" fmla="*/ 0 w 1828803"/>
              <a:gd name="connsiteY0" fmla="*/ 106681 h 640076"/>
              <a:gd name="connsiteX1" fmla="*/ 106681 w 1828803"/>
              <a:gd name="connsiteY1" fmla="*/ 0 h 640076"/>
              <a:gd name="connsiteX2" fmla="*/ 1722122 w 1828803"/>
              <a:gd name="connsiteY2" fmla="*/ 0 h 640076"/>
              <a:gd name="connsiteX3" fmla="*/ 1828803 w 1828803"/>
              <a:gd name="connsiteY3" fmla="*/ 106681 h 640076"/>
              <a:gd name="connsiteX4" fmla="*/ 1828803 w 1828803"/>
              <a:gd name="connsiteY4" fmla="*/ 533395 h 640076"/>
              <a:gd name="connsiteX5" fmla="*/ 1722122 w 1828803"/>
              <a:gd name="connsiteY5" fmla="*/ 640076 h 640076"/>
              <a:gd name="connsiteX6" fmla="*/ 106681 w 1828803"/>
              <a:gd name="connsiteY6" fmla="*/ 640076 h 640076"/>
              <a:gd name="connsiteX7" fmla="*/ 0 w 1828803"/>
              <a:gd name="connsiteY7" fmla="*/ 533395 h 640076"/>
              <a:gd name="connsiteX8" fmla="*/ 0 w 1828803"/>
              <a:gd name="connsiteY8" fmla="*/ 106681 h 6400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28803" h="640076">
                <a:moveTo>
                  <a:pt x="0" y="106681"/>
                </a:moveTo>
                <a:cubicBezTo>
                  <a:pt x="0" y="47763"/>
                  <a:pt x="47763" y="0"/>
                  <a:pt x="106681" y="0"/>
                </a:cubicBezTo>
                <a:lnTo>
                  <a:pt x="1722122" y="0"/>
                </a:lnTo>
                <a:cubicBezTo>
                  <a:pt x="1781040" y="0"/>
                  <a:pt x="1828803" y="47763"/>
                  <a:pt x="1828803" y="106681"/>
                </a:cubicBezTo>
                <a:lnTo>
                  <a:pt x="1828803" y="533395"/>
                </a:lnTo>
                <a:cubicBezTo>
                  <a:pt x="1828803" y="592313"/>
                  <a:pt x="1781040" y="640076"/>
                  <a:pt x="1722122" y="640076"/>
                </a:cubicBezTo>
                <a:lnTo>
                  <a:pt x="106681" y="640076"/>
                </a:lnTo>
                <a:cubicBezTo>
                  <a:pt x="47763" y="640076"/>
                  <a:pt x="0" y="592313"/>
                  <a:pt x="0" y="533395"/>
                </a:cubicBezTo>
                <a:lnTo>
                  <a:pt x="0" y="106681"/>
                </a:lnTo>
                <a:close/>
              </a:path>
            </a:pathLst>
          </a:custGeom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6966" tIns="76966" rIns="76966" bIns="76966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ES" sz="1200" b="1" kern="1200" dirty="0"/>
              <a:t>Atención al cliente y asociación estratégica</a:t>
            </a:r>
            <a:endParaRPr lang="en-US" sz="1200" b="1" kern="1200" dirty="0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8D1296F1-4DF3-E088-8651-69137C16F3D2}"/>
              </a:ext>
            </a:extLst>
          </p:cNvPr>
          <p:cNvSpPr/>
          <p:nvPr/>
        </p:nvSpPr>
        <p:spPr>
          <a:xfrm>
            <a:off x="7045486" y="2038592"/>
            <a:ext cx="3694341" cy="3694341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561842" y="520531"/>
                </a:moveTo>
                <a:arcTo wR="1847170" hR="1847170" stAng="13554368" swAng="650112"/>
              </a:path>
            </a:pathLst>
          </a:custGeom>
          <a:noFill/>
          <a:ln>
            <a:tailEnd type="arrow"/>
          </a:ln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2337CFA-9FF8-8A96-F93A-C6650B0D9DF3}"/>
              </a:ext>
            </a:extLst>
          </p:cNvPr>
          <p:cNvSpPr/>
          <p:nvPr/>
        </p:nvSpPr>
        <p:spPr>
          <a:xfrm>
            <a:off x="5806768" y="6597352"/>
            <a:ext cx="576064" cy="215999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56465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0154E6A-4C27-47B2-94AB-B66AEEF45F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59" imgH="358" progId="TCLayout.ActiveDocument.1">
                  <p:embed/>
                </p:oleObj>
              </mc:Choice>
              <mc:Fallback>
                <p:oleObj name="think-cell Folie" r:id="rId6" imgW="359" imgH="358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0154E6A-4C27-47B2-94AB-B66AEEF45F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A000BA2-87D1-420C-8624-CCA3C91B9AC1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gray"/>
        <p:txBody>
          <a:bodyPr vert="horz"/>
          <a:lstStyle/>
          <a:p>
            <a:r>
              <a:rPr lang="es-419" dirty="0"/>
              <a:t>Servicios de Gestión de Colateral – Externalización</a:t>
            </a:r>
            <a:endParaRPr lang="es-419" dirty="0">
              <a:solidFill>
                <a:srgbClr val="00A5C0"/>
              </a:solidFill>
              <a:cs typeface="Arial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21803A2-A0F6-4FA1-921A-3F03EB61A7E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2C9EDE-4A13-4E4A-9EAA-A59A97CC9CE2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9B44A4A-0AC2-4655-9874-E49E2B6886F6}"/>
              </a:ext>
            </a:extLst>
          </p:cNvPr>
          <p:cNvSpPr txBox="1"/>
          <p:nvPr/>
        </p:nvSpPr>
        <p:spPr>
          <a:xfrm>
            <a:off x="773336" y="1712272"/>
            <a:ext cx="10640388" cy="1314301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Aft>
                <a:spcPts val="600"/>
              </a:spcAft>
            </a:pPr>
            <a:r>
              <a:rPr lang="es-ES" b="1" dirty="0">
                <a:solidFill>
                  <a:schemeClr val="accent1"/>
                </a:solidFill>
              </a:rPr>
              <a:t>Modelo de externalización: </a:t>
            </a:r>
            <a:r>
              <a:rPr lang="es-ES" dirty="0"/>
              <a:t>La infraestructura del mercado local ofrece el servicio de gestión de garantías a sus participantes en el mercado en su propio nombre y subcontrata el procesamiento técnico y algunas actividades operativas a Clearstream.</a:t>
            </a:r>
            <a:endParaRPr lang="en-US" dirty="0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9A4E073A-D629-E508-76B0-5C84FE02A92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87388" y="6381353"/>
            <a:ext cx="2484276" cy="215999"/>
          </a:xfrm>
        </p:spPr>
        <p:txBody>
          <a:bodyPr lIns="0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kern="1200"/>
              <a:t>Clearstream | Deutsche Börse Group</a:t>
            </a:r>
            <a:endParaRPr lang="en-GB" kern="1200" noProof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0110998-6CBD-EDF0-786D-94F7E1FDF909}"/>
              </a:ext>
            </a:extLst>
          </p:cNvPr>
          <p:cNvSpPr/>
          <p:nvPr/>
        </p:nvSpPr>
        <p:spPr>
          <a:xfrm>
            <a:off x="5806768" y="6597352"/>
            <a:ext cx="576064" cy="215999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err="1">
              <a:solidFill>
                <a:schemeClr val="bg1"/>
              </a:solidFill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8AE0D4B-BBCC-5A37-8C9E-9C7863BA8BE9}"/>
              </a:ext>
            </a:extLst>
          </p:cNvPr>
          <p:cNvGrpSpPr/>
          <p:nvPr/>
        </p:nvGrpSpPr>
        <p:grpSpPr>
          <a:xfrm>
            <a:off x="1645770" y="3663518"/>
            <a:ext cx="3283099" cy="1556160"/>
            <a:chOff x="955258" y="4191396"/>
            <a:chExt cx="3283099" cy="1556160"/>
          </a:xfrm>
        </p:grpSpPr>
        <p:pic>
          <p:nvPicPr>
            <p:cNvPr id="10" name="Picture 2" descr="Iberclear is granted CSDR licence – ECSDA">
              <a:extLst>
                <a:ext uri="{FF2B5EF4-FFF2-40B4-BE49-F238E27FC236}">
                  <a16:creationId xmlns:a16="http://schemas.microsoft.com/office/drawing/2014/main" id="{F17C07E6-469D-0BA3-E84E-4ADEC7E981A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33357" y="4463157"/>
              <a:ext cx="1905000" cy="1066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8B10D876-8E2B-1B85-ACA0-FE59D45C5F6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467692" y="4191396"/>
              <a:ext cx="974651" cy="596591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4BCD851B-B3A3-7EC2-6685-603FEA2CBA1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955258" y="4847898"/>
              <a:ext cx="1391697" cy="396634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D5F98DC3-5DCE-56B5-ED81-1462F8552C5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2720819" y="4243155"/>
              <a:ext cx="536975" cy="460807"/>
            </a:xfrm>
            <a:prstGeom prst="rect">
              <a:avLst/>
            </a:prstGeom>
          </p:spPr>
        </p:pic>
        <p:pic>
          <p:nvPicPr>
            <p:cNvPr id="19" name="Picture 6" descr="Clearstream Banking Luxembourg Client Handbook">
              <a:extLst>
                <a:ext uri="{FF2B5EF4-FFF2-40B4-BE49-F238E27FC236}">
                  <a16:creationId xmlns:a16="http://schemas.microsoft.com/office/drawing/2014/main" id="{0AF7EA8D-887F-D657-ADDB-C1F33AA34C0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37834" y="5390623"/>
              <a:ext cx="2209017" cy="3569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5134395C-72D9-D3BE-7838-29F219619201}"/>
              </a:ext>
            </a:extLst>
          </p:cNvPr>
          <p:cNvSpPr txBox="1"/>
          <p:nvPr/>
        </p:nvSpPr>
        <p:spPr>
          <a:xfrm>
            <a:off x="5909509" y="3269797"/>
            <a:ext cx="4891371" cy="234360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just">
              <a:spcAft>
                <a:spcPts val="600"/>
              </a:spcAft>
            </a:pPr>
            <a:r>
              <a:rPr lang="es-419" b="1" u="sng" dirty="0"/>
              <a:t>Implementado en:</a:t>
            </a:r>
          </a:p>
          <a:p>
            <a:pPr marL="285750" indent="-285750" algn="just">
              <a:spcAft>
                <a:spcPts val="600"/>
              </a:spcAft>
              <a:buFont typeface="Arial"/>
              <a:buChar char="•"/>
            </a:pPr>
            <a:r>
              <a:rPr lang="es-419" dirty="0"/>
              <a:t>Australia (</a:t>
            </a:r>
            <a:r>
              <a:rPr lang="es-419" b="1" dirty="0">
                <a:solidFill>
                  <a:schemeClr val="accent1"/>
                </a:solidFill>
              </a:rPr>
              <a:t>ASX</a:t>
            </a:r>
            <a:r>
              <a:rPr lang="es-419" dirty="0"/>
              <a:t>)</a:t>
            </a:r>
            <a:endParaRPr lang="es-419" dirty="0">
              <a:cs typeface="Arial" panose="020B0604020202020204"/>
            </a:endParaRPr>
          </a:p>
          <a:p>
            <a:pPr marL="285750" indent="-285750" algn="just">
              <a:spcAft>
                <a:spcPts val="600"/>
              </a:spcAft>
              <a:buFont typeface="Arial"/>
              <a:buChar char="•"/>
            </a:pPr>
            <a:r>
              <a:rPr lang="es-419" dirty="0">
                <a:cs typeface="Arial" panose="020B0604020202020204"/>
              </a:rPr>
              <a:t>Brasil (</a:t>
            </a:r>
            <a:r>
              <a:rPr lang="es-419" b="1" dirty="0">
                <a:solidFill>
                  <a:schemeClr val="accent1"/>
                </a:solidFill>
                <a:cs typeface="Arial" panose="020B0604020202020204"/>
              </a:rPr>
              <a:t>B3</a:t>
            </a:r>
            <a:r>
              <a:rPr lang="es-419" dirty="0">
                <a:cs typeface="Arial" panose="020B0604020202020204"/>
              </a:rPr>
              <a:t>)</a:t>
            </a:r>
            <a:endParaRPr lang="es-419" dirty="0"/>
          </a:p>
          <a:p>
            <a:pPr marL="285750" indent="-285750" algn="just">
              <a:spcAft>
                <a:spcPts val="600"/>
              </a:spcAft>
              <a:buFont typeface="Arial"/>
              <a:buChar char="•"/>
            </a:pPr>
            <a:r>
              <a:rPr lang="es-419" dirty="0"/>
              <a:t>Alemania (</a:t>
            </a:r>
            <a:r>
              <a:rPr lang="es-419" b="1" dirty="0">
                <a:solidFill>
                  <a:schemeClr val="accent1"/>
                </a:solidFill>
              </a:rPr>
              <a:t>CBF</a:t>
            </a:r>
            <a:r>
              <a:rPr lang="es-419" dirty="0"/>
              <a:t>)</a:t>
            </a:r>
            <a:endParaRPr lang="es-419" dirty="0">
              <a:cs typeface="Arial"/>
            </a:endParaRPr>
          </a:p>
          <a:p>
            <a:pPr marL="285750" indent="-285750" algn="just">
              <a:spcAft>
                <a:spcPts val="600"/>
              </a:spcAft>
              <a:buFont typeface="Arial"/>
              <a:buChar char="•"/>
            </a:pPr>
            <a:r>
              <a:rPr lang="es-419" dirty="0"/>
              <a:t>Sudáfrica (</a:t>
            </a:r>
            <a:r>
              <a:rPr lang="es-419" b="1" dirty="0">
                <a:solidFill>
                  <a:schemeClr val="accent1"/>
                </a:solidFill>
              </a:rPr>
              <a:t>STRATE</a:t>
            </a:r>
            <a:r>
              <a:rPr lang="es-419" dirty="0"/>
              <a:t>)</a:t>
            </a:r>
            <a:endParaRPr lang="es-419" dirty="0">
              <a:cs typeface="Arial"/>
            </a:endParaRPr>
          </a:p>
          <a:p>
            <a:pPr marL="285750" indent="-285750" algn="just">
              <a:spcAft>
                <a:spcPts val="600"/>
              </a:spcAft>
              <a:buFont typeface="Arial"/>
              <a:buChar char="•"/>
            </a:pPr>
            <a:r>
              <a:rPr lang="es-419" dirty="0"/>
              <a:t>España (</a:t>
            </a:r>
            <a:r>
              <a:rPr lang="es-419" b="1" dirty="0" err="1">
                <a:solidFill>
                  <a:schemeClr val="accent1"/>
                </a:solidFill>
              </a:rPr>
              <a:t>Iberclear</a:t>
            </a:r>
            <a:r>
              <a:rPr lang="es-419" dirty="0"/>
              <a:t>) </a:t>
            </a:r>
            <a:endParaRPr lang="es-419" dirty="0">
              <a:cs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24684131"/>
      </p:ext>
    </p:extLst>
  </p:cSld>
  <p:clrMapOvr>
    <a:masterClrMapping/>
  </p:clrMapOvr>
  <p:transition spd="slow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0154E6A-4C27-47B2-94AB-B66AEEF45F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59" imgH="358" progId="TCLayout.ActiveDocument.1">
                  <p:embed/>
                </p:oleObj>
              </mc:Choice>
              <mc:Fallback>
                <p:oleObj name="think-cell Folie" r:id="rId6" imgW="359" imgH="358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0154E6A-4C27-47B2-94AB-B66AEEF45F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A000BA2-87D1-420C-8624-CCA3C91B9AC1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gray"/>
        <p:txBody>
          <a:bodyPr vert="horz"/>
          <a:lstStyle/>
          <a:p>
            <a:r>
              <a:rPr lang="es-ES" dirty="0"/>
              <a:t>Servicios de Gestión de Colateral – Servicio Conjunto</a:t>
            </a:r>
            <a:endParaRPr lang="en-US" dirty="0">
              <a:solidFill>
                <a:srgbClr val="00A5C0"/>
              </a:solidFill>
              <a:cs typeface="Arial" panose="020B0604020202020204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21803A2-A0F6-4FA1-921A-3F03EB61A7E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2C9EDE-4A13-4E4A-9EAA-A59A97CC9CE2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0D2CBFC-D31A-477F-AE1E-CE6EBAD2BD45}"/>
              </a:ext>
            </a:extLst>
          </p:cNvPr>
          <p:cNvSpPr/>
          <p:nvPr/>
        </p:nvSpPr>
        <p:spPr>
          <a:xfrm>
            <a:off x="687345" y="1668763"/>
            <a:ext cx="10752460" cy="92333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>
              <a:spcAft>
                <a:spcPts val="600"/>
              </a:spcAft>
            </a:pPr>
            <a:r>
              <a:rPr lang="es-ES" b="1" dirty="0">
                <a:solidFill>
                  <a:schemeClr val="accent1"/>
                </a:solidFill>
              </a:rPr>
              <a:t>Modelo de servicio conjunto: </a:t>
            </a:r>
            <a:r>
              <a:rPr lang="es-ES" dirty="0"/>
              <a:t>La infraestructura del mercado local con Clearstream ofrece conjuntamente la solución de gestión de garantías a los participantes del mercado, y Clearstream cubre el servicio de gestión de garantías.</a:t>
            </a:r>
            <a:endParaRPr lang="en-US" dirty="0">
              <a:cs typeface="Arial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56170E1-3CDE-4729-8951-EB4192D50EA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950907" y="3838175"/>
            <a:ext cx="2999092" cy="952537"/>
          </a:xfrm>
          <a:prstGeom prst="rect">
            <a:avLst/>
          </a:prstGeom>
          <a:solidFill>
            <a:schemeClr val="accent4"/>
          </a:solidFill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AA1033DE-8590-E41F-518C-4C6E6A3954EE}"/>
              </a:ext>
            </a:extLst>
          </p:cNvPr>
          <p:cNvSpPr/>
          <p:nvPr/>
        </p:nvSpPr>
        <p:spPr>
          <a:xfrm>
            <a:off x="5806767" y="3221836"/>
            <a:ext cx="5805347" cy="2185214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algn="just">
              <a:spcAft>
                <a:spcPts val="600"/>
              </a:spcAft>
            </a:pPr>
            <a:r>
              <a:rPr lang="es-ES" b="1" u="sng" dirty="0">
                <a:solidFill>
                  <a:srgbClr val="666666"/>
                </a:solidFill>
              </a:rPr>
              <a:t>Implementado en: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dirty="0">
                <a:solidFill>
                  <a:srgbClr val="666666"/>
                </a:solidFill>
              </a:rPr>
              <a:t>Canadá (</a:t>
            </a:r>
            <a:r>
              <a:rPr lang="es-ES" b="1" dirty="0">
                <a:solidFill>
                  <a:schemeClr val="accent1"/>
                </a:solidFill>
              </a:rPr>
              <a:t>TMX</a:t>
            </a:r>
            <a:r>
              <a:rPr lang="es-ES" dirty="0">
                <a:solidFill>
                  <a:srgbClr val="666666"/>
                </a:solidFill>
              </a:rPr>
              <a:t>) 
Elegido la mejor solución adaptada para la necesidad del mercado, clientes y requisitos de internalización (los principales actores nacionales también participan en el ICSD y el acceso a los activos internacionales se define como clave).</a:t>
            </a:r>
            <a:endParaRPr lang="en-US" dirty="0">
              <a:solidFill>
                <a:srgbClr val="666666"/>
              </a:solidFill>
              <a:cs typeface="Arial"/>
            </a:endParaRP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AB44FCE2-3700-599D-15DF-7A3D7A50C99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87388" y="6381353"/>
            <a:ext cx="2484276" cy="215999"/>
          </a:xfrm>
        </p:spPr>
        <p:txBody>
          <a:bodyPr lIns="0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kern="1200"/>
              <a:t>Clearstream | Deutsche Börse Group</a:t>
            </a:r>
            <a:endParaRPr lang="en-GB" kern="1200" noProof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946956E-FE22-6721-843D-A10C1EA4CC15}"/>
              </a:ext>
            </a:extLst>
          </p:cNvPr>
          <p:cNvSpPr/>
          <p:nvPr/>
        </p:nvSpPr>
        <p:spPr>
          <a:xfrm>
            <a:off x="5806768" y="6597352"/>
            <a:ext cx="576064" cy="215999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err="1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15545968"/>
      </p:ext>
    </p:extLst>
  </p:cSld>
  <p:clrMapOvr>
    <a:masterClrMapping/>
  </p:clrMapOvr>
  <p:transition spd="slow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652582-C388-F649-8158-91B5FC5420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881" y="314906"/>
            <a:ext cx="11017224" cy="934900"/>
          </a:xfr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s-419" b="1" kern="1200" dirty="0">
                <a:latin typeface="+mj-lt"/>
                <a:ea typeface="+mj-ea"/>
                <a:cs typeface="+mj-cs"/>
              </a:rPr>
              <a:t>Beneficios de operar vía parcería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97307BA-9BD3-DE25-3C2F-494354A8A8D1}"/>
              </a:ext>
            </a:extLst>
          </p:cNvPr>
          <p:cNvSpPr txBox="1"/>
          <p:nvPr/>
        </p:nvSpPr>
        <p:spPr bwMode="gray">
          <a:xfrm>
            <a:off x="550014" y="844838"/>
            <a:ext cx="8220722" cy="68712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spcAft>
                <a:spcPts val="600"/>
              </a:spcAft>
            </a:pPr>
            <a:r>
              <a:rPr lang="es-419" sz="1600" b="1" kern="1200" dirty="0"/>
              <a:t>Utilizar los servicios de gestión de colateral de Clearstream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609462-5516-E841-ED64-425794C0895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5806768" y="6381352"/>
            <a:ext cx="576064" cy="216000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72C9EDE-4A13-4E4A-9EAA-A59A97CC9CE2}" type="slidenum">
              <a:rPr lang="en-GB" kern="1200">
                <a:latin typeface="+mn-lt"/>
                <a:ea typeface="+mn-ea"/>
                <a:cs typeface="+mn-cs"/>
              </a:rPr>
              <a:pPr>
                <a:lnSpc>
                  <a:spcPct val="90000"/>
                </a:lnSpc>
                <a:spcAft>
                  <a:spcPts val="600"/>
                </a:spcAft>
              </a:pPr>
              <a:t>6</a:t>
            </a:fld>
            <a:endParaRPr lang="en-GB" kern="1200">
              <a:latin typeface="+mn-lt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EC210F8-E0A0-54F8-F882-85A822FDC3CA}"/>
              </a:ext>
            </a:extLst>
          </p:cNvPr>
          <p:cNvSpPr/>
          <p:nvPr/>
        </p:nvSpPr>
        <p:spPr>
          <a:xfrm>
            <a:off x="369810" y="1765358"/>
            <a:ext cx="2704565" cy="1497443"/>
          </a:xfrm>
          <a:prstGeom prst="rect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419" sz="1400" b="1" dirty="0">
                <a:solidFill>
                  <a:schemeClr val="accent1"/>
                </a:solidFill>
                <a:latin typeface="+mj-lt"/>
              </a:rPr>
              <a:t>Aumentar el servicio de valor añadido</a:t>
            </a:r>
          </a:p>
          <a:p>
            <a:pPr algn="ctr"/>
            <a:endParaRPr lang="es-419" sz="1400" b="1" dirty="0">
              <a:solidFill>
                <a:schemeClr val="accent1"/>
              </a:solidFill>
              <a:latin typeface="+mj-lt"/>
            </a:endParaRPr>
          </a:p>
          <a:p>
            <a:pPr algn="ctr"/>
            <a:r>
              <a:rPr lang="es-419" sz="1200" dirty="0">
                <a:solidFill>
                  <a:schemeClr val="tx1"/>
                </a:solidFill>
                <a:cs typeface="Arial"/>
              </a:rPr>
              <a:t>El mercado puede proporcionar a los clientes existentes nuevos servicios y productos</a:t>
            </a:r>
            <a:endParaRPr lang="es-419" dirty="0">
              <a:solidFill>
                <a:schemeClr val="bg1"/>
              </a:solidFill>
            </a:endParaRP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CA13A23B-021D-55E1-7186-E43D602B07C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87388" y="6381353"/>
            <a:ext cx="2484276" cy="215999"/>
          </a:xfrm>
        </p:spPr>
        <p:txBody>
          <a:bodyPr lIns="0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kern="1200"/>
              <a:t>Clearstream | Deutsche Börse Group</a:t>
            </a:r>
            <a:endParaRPr lang="en-GB" kern="1200" noProof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CBC71AB-6581-0DD2-18D6-BD3652A1929C}"/>
              </a:ext>
            </a:extLst>
          </p:cNvPr>
          <p:cNvSpPr/>
          <p:nvPr/>
        </p:nvSpPr>
        <p:spPr>
          <a:xfrm>
            <a:off x="5806768" y="6597352"/>
            <a:ext cx="576064" cy="215999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CDE0864-E124-266F-2B59-835FEF97A380}"/>
              </a:ext>
            </a:extLst>
          </p:cNvPr>
          <p:cNvSpPr/>
          <p:nvPr/>
        </p:nvSpPr>
        <p:spPr>
          <a:xfrm>
            <a:off x="3211683" y="1765358"/>
            <a:ext cx="2704565" cy="1497443"/>
          </a:xfrm>
          <a:prstGeom prst="rect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r>
              <a:rPr lang="es-419" sz="1400" b="1" dirty="0">
                <a:solidFill>
                  <a:srgbClr val="00A5C0"/>
                </a:solidFill>
                <a:latin typeface="+mj-lt"/>
              </a:rPr>
              <a:t>Experiencia y conocimiento externo</a:t>
            </a:r>
          </a:p>
          <a:p>
            <a:pPr lvl="0" algn="ctr">
              <a:defRPr/>
            </a:pPr>
            <a:endParaRPr lang="es-419" sz="1100" dirty="0">
              <a:solidFill>
                <a:srgbClr val="666666"/>
              </a:solidFill>
            </a:endParaRPr>
          </a:p>
          <a:p>
            <a:pPr lvl="0" algn="ctr">
              <a:defRPr/>
            </a:pPr>
            <a:r>
              <a:rPr lang="es-419" sz="1200" dirty="0">
                <a:solidFill>
                  <a:srgbClr val="666666"/>
                </a:solidFill>
              </a:rPr>
              <a:t>Aprovechar el conocimiento y la experiencia existentes de los socios que ya se han convertido en expertos en el producto/servicio</a:t>
            </a:r>
            <a:endParaRPr lang="es-419" sz="1200" dirty="0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0671D06-C24D-3FF5-CF25-1CC9DAA16209}"/>
              </a:ext>
            </a:extLst>
          </p:cNvPr>
          <p:cNvSpPr/>
          <p:nvPr/>
        </p:nvSpPr>
        <p:spPr>
          <a:xfrm>
            <a:off x="6053556" y="1765357"/>
            <a:ext cx="2704565" cy="1497443"/>
          </a:xfrm>
          <a:prstGeom prst="rect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r>
              <a:rPr lang="es-419" sz="1400" b="1" dirty="0">
                <a:solidFill>
                  <a:srgbClr val="00A5C0"/>
                </a:solidFill>
                <a:latin typeface="+mj-lt"/>
              </a:rPr>
              <a:t>Externalización de actividades no esenciales</a:t>
            </a:r>
            <a:endParaRPr kumimoji="0" lang="es-419" sz="11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419" sz="12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ea typeface="+mn-ea"/>
              <a:cs typeface="+mn-cs"/>
            </a:endParaRPr>
          </a:p>
          <a:p>
            <a:pPr lvl="0" algn="ctr">
              <a:defRPr/>
            </a:pPr>
            <a:r>
              <a:rPr lang="es-419" sz="1200" dirty="0">
                <a:solidFill>
                  <a:srgbClr val="666666"/>
                </a:solidFill>
              </a:rPr>
              <a:t>Permite que los recursos permanezcan dedicados a las funciones principales</a:t>
            </a:r>
            <a:endParaRPr lang="es-419" sz="1600" dirty="0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8949FF0-8DD3-816B-DD78-8CAE3E5C926B}"/>
              </a:ext>
            </a:extLst>
          </p:cNvPr>
          <p:cNvSpPr/>
          <p:nvPr/>
        </p:nvSpPr>
        <p:spPr>
          <a:xfrm>
            <a:off x="8895429" y="1765356"/>
            <a:ext cx="2704565" cy="1497443"/>
          </a:xfrm>
          <a:prstGeom prst="rect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r>
              <a:rPr lang="es-419" sz="1400" b="1" dirty="0">
                <a:solidFill>
                  <a:srgbClr val="00A5C0"/>
                </a:solidFill>
                <a:latin typeface="+mj-lt"/>
              </a:rPr>
              <a:t>Reducción de recursos</a:t>
            </a:r>
            <a:endParaRPr kumimoji="0" lang="es-419" sz="11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419" sz="12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419" sz="1200" dirty="0">
              <a:solidFill>
                <a:srgbClr val="666666"/>
              </a:solidFill>
            </a:endParaRPr>
          </a:p>
          <a:p>
            <a:pPr lvl="0" algn="ctr">
              <a:defRPr/>
            </a:pPr>
            <a:r>
              <a:rPr lang="es-419" sz="1200" dirty="0">
                <a:solidFill>
                  <a:srgbClr val="666666"/>
                </a:solidFill>
              </a:rPr>
              <a:t>Aprovechar los recursos externos que ya son utilizado por sus parceros</a:t>
            </a:r>
            <a:endParaRPr lang="es-419" sz="1600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49C41B-F169-3551-87EC-0B19DB0B9D8E}"/>
              </a:ext>
            </a:extLst>
          </p:cNvPr>
          <p:cNvSpPr/>
          <p:nvPr/>
        </p:nvSpPr>
        <p:spPr>
          <a:xfrm>
            <a:off x="366347" y="3658453"/>
            <a:ext cx="2704565" cy="1497443"/>
          </a:xfrm>
          <a:prstGeom prst="rect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r>
              <a:rPr lang="es-419" sz="1400" b="1" dirty="0">
                <a:solidFill>
                  <a:srgbClr val="00A5C0"/>
                </a:solidFill>
                <a:latin typeface="+mj-lt"/>
              </a:rPr>
              <a:t>Mantener la relación con los clientes finales</a:t>
            </a:r>
          </a:p>
          <a:p>
            <a:pPr lvl="0" algn="ctr">
              <a:defRPr/>
            </a:pPr>
            <a:endParaRPr kumimoji="0" lang="es-419" sz="1100" b="1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lvl="0" algn="ctr">
              <a:defRPr/>
            </a:pPr>
            <a:r>
              <a:rPr lang="es-419" sz="1200" dirty="0">
                <a:solidFill>
                  <a:srgbClr val="666666"/>
                </a:solidFill>
              </a:rPr>
              <a:t>Permite que los participantes del mercado permanezcan conectados a la infraestructura dentro de la asociación</a:t>
            </a:r>
            <a:endParaRPr lang="es-419" sz="1600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2795562-9597-C904-AC4F-98F64EDB8170}"/>
              </a:ext>
            </a:extLst>
          </p:cNvPr>
          <p:cNvSpPr/>
          <p:nvPr/>
        </p:nvSpPr>
        <p:spPr>
          <a:xfrm>
            <a:off x="3211682" y="3658453"/>
            <a:ext cx="2704565" cy="1497443"/>
          </a:xfrm>
          <a:prstGeom prst="rect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r>
              <a:rPr lang="es-419" sz="1400" b="1" dirty="0">
                <a:solidFill>
                  <a:srgbClr val="00A5C0"/>
                </a:solidFill>
                <a:latin typeface="+mj-lt"/>
              </a:rPr>
              <a:t>Consideraciones de costos</a:t>
            </a:r>
            <a:endParaRPr kumimoji="0" lang="es-419" sz="1100" b="1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419" sz="1100" b="1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lvl="0" algn="ctr">
              <a:defRPr/>
            </a:pPr>
            <a:endParaRPr lang="es-419" sz="1200" dirty="0">
              <a:solidFill>
                <a:srgbClr val="666666"/>
              </a:solidFill>
            </a:endParaRPr>
          </a:p>
          <a:p>
            <a:pPr lvl="0" algn="ctr">
              <a:defRPr/>
            </a:pPr>
            <a:r>
              <a:rPr lang="es-419" sz="1200" dirty="0">
                <a:solidFill>
                  <a:srgbClr val="666666"/>
                </a:solidFill>
              </a:rPr>
              <a:t>Puede ser más rentable asociarse con la plataforma existente en lugar de crear una nueva solución desde cero</a:t>
            </a:r>
            <a:endParaRPr lang="es-419" sz="1600" dirty="0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2974C5C-0723-80EB-3B0E-6FC035A84F80}"/>
              </a:ext>
            </a:extLst>
          </p:cNvPr>
          <p:cNvSpPr/>
          <p:nvPr/>
        </p:nvSpPr>
        <p:spPr>
          <a:xfrm>
            <a:off x="6053555" y="3660027"/>
            <a:ext cx="2704565" cy="1497443"/>
          </a:xfrm>
          <a:prstGeom prst="rect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r>
              <a:rPr lang="es-419" sz="1400" b="1" dirty="0">
                <a:solidFill>
                  <a:srgbClr val="00A5C0"/>
                </a:solidFill>
                <a:latin typeface="+mj-lt"/>
              </a:rPr>
              <a:t>Comerciabilidad más rápida</a:t>
            </a:r>
            <a:endParaRPr kumimoji="0" lang="es-419" sz="11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419" sz="11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  <a:p>
            <a:pPr lvl="0" algn="ctr">
              <a:defRPr/>
            </a:pPr>
            <a:r>
              <a:rPr lang="es-419" sz="1200" dirty="0">
                <a:solidFill>
                  <a:srgbClr val="666666"/>
                </a:solidFill>
              </a:rPr>
              <a:t>El tiempo de comercialización es más rápido a través de una asociación, que aprovecha la tecnología existente frente a la creación de nuevas tecnologías</a:t>
            </a:r>
            <a:endParaRPr lang="es-419" sz="1600" dirty="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627BAF6-22BB-C4A5-90B9-130F51724B08}"/>
              </a:ext>
            </a:extLst>
          </p:cNvPr>
          <p:cNvSpPr/>
          <p:nvPr/>
        </p:nvSpPr>
        <p:spPr>
          <a:xfrm>
            <a:off x="8895429" y="3658453"/>
            <a:ext cx="2704565" cy="1497443"/>
          </a:xfrm>
          <a:prstGeom prst="rect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r>
              <a:rPr lang="es-419" sz="1400" b="1" dirty="0">
                <a:solidFill>
                  <a:srgbClr val="00A5C0"/>
                </a:solidFill>
                <a:latin typeface="+mj-lt"/>
              </a:rPr>
              <a:t>Flexibilidad y escalabilidad</a:t>
            </a:r>
            <a:endParaRPr kumimoji="0" lang="es-419" sz="11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lvl="0" algn="ctr">
              <a:defRPr/>
            </a:pPr>
            <a:endParaRPr lang="es-419" sz="1200" dirty="0">
              <a:solidFill>
                <a:srgbClr val="666666"/>
              </a:solidFill>
            </a:endParaRPr>
          </a:p>
          <a:p>
            <a:pPr lvl="0" algn="ctr">
              <a:defRPr/>
            </a:pPr>
            <a:endParaRPr lang="es-419" sz="1200" dirty="0">
              <a:solidFill>
                <a:srgbClr val="666666"/>
              </a:solidFill>
            </a:endParaRPr>
          </a:p>
          <a:p>
            <a:pPr lvl="0" algn="ctr">
              <a:defRPr/>
            </a:pPr>
            <a:r>
              <a:rPr lang="es-419" sz="1200" dirty="0">
                <a:solidFill>
                  <a:srgbClr val="666666"/>
                </a:solidFill>
              </a:rPr>
              <a:t>Capacidad para crear soluciones a medida que se ajusten a las necesidades y regulaciones específicas del mercado</a:t>
            </a:r>
            <a:endParaRPr lang="es-419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60685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C470CE1-F919-45C5-945A-FFCDBCA09C0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9" imgH="358" progId="TCLayout.ActiveDocument.1">
                  <p:embed/>
                </p:oleObj>
              </mc:Choice>
              <mc:Fallback>
                <p:oleObj name="think-cell Folie" r:id="rId5" imgW="359" imgH="35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C470CE1-F919-45C5-945A-FFCDBCA09C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>
            <a:extLst>
              <a:ext uri="{FF2B5EF4-FFF2-40B4-BE49-F238E27FC236}">
                <a16:creationId xmlns:a16="http://schemas.microsoft.com/office/drawing/2014/main" id="{A06E980C-C38B-4F9B-8725-A3813CB61A2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87375" y="728700"/>
            <a:ext cx="5400669" cy="719783"/>
          </a:xfrm>
        </p:spPr>
        <p:txBody>
          <a:bodyPr vert="horz"/>
          <a:lstStyle/>
          <a:p>
            <a:r>
              <a:rPr lang="en-US" dirty="0"/>
              <a:t>Gracias! 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4F75D25-4D2D-4DF4-AFE4-B8E3E4509B3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587375" y="1916113"/>
            <a:ext cx="5400675" cy="2989261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s-419" dirty="0"/>
              <a:t>Gregory Rodeheaver</a:t>
            </a:r>
          </a:p>
          <a:p>
            <a:pPr lvl="1"/>
            <a:r>
              <a:rPr lang="es-419" dirty="0"/>
              <a:t>Director | Gerente de relación al cliente - Américas</a:t>
            </a:r>
            <a:endParaRPr lang="es-419" noProof="0" dirty="0">
              <a:cs typeface="Arial"/>
            </a:endParaRPr>
          </a:p>
          <a:p>
            <a:pPr lvl="2"/>
            <a:r>
              <a:rPr lang="es-419" noProof="0" dirty="0"/>
              <a:t>Clearstream </a:t>
            </a:r>
            <a:r>
              <a:rPr lang="es-419" noProof="0" dirty="0" err="1"/>
              <a:t>Banking</a:t>
            </a:r>
            <a:r>
              <a:rPr lang="es-419" noProof="0" dirty="0"/>
              <a:t> </a:t>
            </a:r>
            <a:r>
              <a:rPr lang="es-419" dirty="0"/>
              <a:t>SA</a:t>
            </a:r>
            <a:br>
              <a:rPr lang="es-419" noProof="0" dirty="0"/>
            </a:br>
            <a:r>
              <a:rPr lang="es-419" dirty="0"/>
              <a:t>1155 Avenue </a:t>
            </a:r>
            <a:r>
              <a:rPr lang="es-419" dirty="0" err="1"/>
              <a:t>of</a:t>
            </a:r>
            <a:r>
              <a:rPr lang="es-419" dirty="0"/>
              <a:t> </a:t>
            </a:r>
            <a:r>
              <a:rPr lang="es-419" dirty="0" err="1"/>
              <a:t>the</a:t>
            </a:r>
            <a:r>
              <a:rPr lang="es-419" dirty="0"/>
              <a:t> </a:t>
            </a:r>
            <a:r>
              <a:rPr lang="es-419" dirty="0" err="1"/>
              <a:t>Americas</a:t>
            </a:r>
            <a:r>
              <a:rPr lang="es-419" dirty="0"/>
              <a:t>, 19th </a:t>
            </a:r>
            <a:r>
              <a:rPr lang="es-419" dirty="0" err="1"/>
              <a:t>Floor</a:t>
            </a:r>
            <a:br>
              <a:rPr lang="es-419" noProof="0" dirty="0"/>
            </a:br>
            <a:r>
              <a:rPr lang="es-419" dirty="0"/>
              <a:t>NY, NY 10036</a:t>
            </a:r>
            <a:endParaRPr lang="es-419" noProof="0" dirty="0">
              <a:cs typeface="Arial"/>
            </a:endParaRPr>
          </a:p>
          <a:p>
            <a:pPr lvl="2"/>
            <a:r>
              <a:rPr lang="es-419" noProof="0" dirty="0" err="1"/>
              <a:t>Phone</a:t>
            </a:r>
            <a:r>
              <a:rPr lang="es-419" noProof="0" dirty="0"/>
              <a:t>	+</a:t>
            </a:r>
            <a:r>
              <a:rPr lang="es-419" dirty="0"/>
              <a:t>1.347.404.0702</a:t>
            </a:r>
            <a:br>
              <a:rPr lang="es-419" noProof="0" dirty="0"/>
            </a:br>
            <a:r>
              <a:rPr lang="es-419" noProof="0" dirty="0"/>
              <a:t>E-mail</a:t>
            </a:r>
            <a:r>
              <a:rPr lang="es-419" dirty="0"/>
              <a:t> </a:t>
            </a:r>
            <a:r>
              <a:rPr lang="es-419" dirty="0" err="1"/>
              <a:t>gregory</a:t>
            </a:r>
            <a:r>
              <a:rPr lang="es-419" noProof="0" dirty="0"/>
              <a:t>.</a:t>
            </a:r>
            <a:r>
              <a:rPr lang="es-419" dirty="0" err="1"/>
              <a:t>rodeheaver</a:t>
            </a:r>
            <a:r>
              <a:rPr lang="es-419" noProof="0" dirty="0"/>
              <a:t>@clearstream.com</a:t>
            </a:r>
            <a:endParaRPr lang="es-419" noProof="0" dirty="0">
              <a:cs typeface="Arial"/>
            </a:endParaRP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ADF326C5-C875-4680-87D0-9B1C338CD5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xfrm>
            <a:off x="6203949" y="1916113"/>
            <a:ext cx="5400675" cy="2989261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s-419" dirty="0"/>
              <a:t>Nathalia Teofilo</a:t>
            </a:r>
            <a:endParaRPr lang="es-419" noProof="0" dirty="0"/>
          </a:p>
          <a:p>
            <a:pPr lvl="1"/>
            <a:r>
              <a:rPr lang="es-419" dirty="0">
                <a:cs typeface="Arial"/>
              </a:rPr>
              <a:t>Vice Presidente | Gerente de relaciones - Américas</a:t>
            </a:r>
            <a:endParaRPr lang="es-419" noProof="0" dirty="0">
              <a:cs typeface="Arial"/>
            </a:endParaRPr>
          </a:p>
          <a:p>
            <a:pPr lvl="2"/>
            <a:r>
              <a:rPr lang="es-419" noProof="0" dirty="0"/>
              <a:t>Clearstream </a:t>
            </a:r>
            <a:r>
              <a:rPr lang="es-419" noProof="0" dirty="0" err="1"/>
              <a:t>Banking</a:t>
            </a:r>
            <a:r>
              <a:rPr lang="es-419" noProof="0" dirty="0"/>
              <a:t> </a:t>
            </a:r>
            <a:r>
              <a:rPr lang="es-419" dirty="0"/>
              <a:t>SA</a:t>
            </a:r>
            <a:br>
              <a:rPr lang="es-419" dirty="0"/>
            </a:br>
            <a:r>
              <a:rPr lang="es-419" dirty="0"/>
              <a:t>1155 Avenue </a:t>
            </a:r>
            <a:r>
              <a:rPr lang="es-419" dirty="0" err="1"/>
              <a:t>of</a:t>
            </a:r>
            <a:r>
              <a:rPr lang="es-419" dirty="0"/>
              <a:t> </a:t>
            </a:r>
            <a:r>
              <a:rPr lang="es-419" dirty="0" err="1"/>
              <a:t>the</a:t>
            </a:r>
            <a:r>
              <a:rPr lang="es-419" dirty="0"/>
              <a:t> </a:t>
            </a:r>
            <a:r>
              <a:rPr lang="es-419" dirty="0" err="1"/>
              <a:t>Americas</a:t>
            </a:r>
            <a:r>
              <a:rPr lang="es-419" dirty="0"/>
              <a:t>, 19th </a:t>
            </a:r>
            <a:r>
              <a:rPr lang="es-419" dirty="0" err="1"/>
              <a:t>Floor</a:t>
            </a:r>
            <a:br>
              <a:rPr lang="es-419" dirty="0"/>
            </a:br>
            <a:r>
              <a:rPr lang="es-419" dirty="0"/>
              <a:t>NY, NY 10036</a:t>
            </a:r>
            <a:endParaRPr lang="es-419" dirty="0">
              <a:cs typeface="Arial"/>
            </a:endParaRPr>
          </a:p>
          <a:p>
            <a:pPr lvl="2"/>
            <a:r>
              <a:rPr lang="es-419" dirty="0" err="1"/>
              <a:t>Phone</a:t>
            </a:r>
            <a:r>
              <a:rPr lang="es-419" dirty="0"/>
              <a:t> +1.347.952.6488</a:t>
            </a:r>
            <a:br>
              <a:rPr lang="es-419" dirty="0"/>
            </a:br>
            <a:r>
              <a:rPr lang="es-419" dirty="0"/>
              <a:t>E-mail </a:t>
            </a:r>
            <a:r>
              <a:rPr lang="es-419" dirty="0" err="1"/>
              <a:t>nathalia.teofilo</a:t>
            </a:r>
            <a:r>
              <a:rPr lang="es-419" dirty="0"/>
              <a:t>@</a:t>
            </a:r>
            <a:r>
              <a:rPr lang="es-419" noProof="0" dirty="0"/>
              <a:t>clearstream.com</a:t>
            </a:r>
            <a:endParaRPr lang="es-419" noProof="0" dirty="0">
              <a:cs typeface="Arial" panose="020B0604020202020204"/>
            </a:endParaRPr>
          </a:p>
        </p:txBody>
      </p:sp>
      <p:sp>
        <p:nvSpPr>
          <p:cNvPr id="4" name="Slide Number Placeholder 4">
            <a:extLst>
              <a:ext uri="{FF2B5EF4-FFF2-40B4-BE49-F238E27FC236}">
                <a16:creationId xmlns:a16="http://schemas.microsoft.com/office/drawing/2014/main" id="{ACBD6553-7F89-2A64-8492-21495202C650}"/>
              </a:ext>
            </a:extLst>
          </p:cNvPr>
          <p:cNvSpPr txBox="1">
            <a:spLocks/>
          </p:cNvSpPr>
          <p:nvPr/>
        </p:nvSpPr>
        <p:spPr bwMode="gray">
          <a:xfrm>
            <a:off x="5806768" y="6381352"/>
            <a:ext cx="576064" cy="216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tabLst>
                <a:tab pos="623888" algn="l"/>
              </a:tabLst>
              <a:defRPr sz="14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tabLst>
                <a:tab pos="623888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tabLst>
                <a:tab pos="623888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tabLst>
                <a:tab pos="623888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tabLst>
                <a:tab pos="623888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tabLst>
                <a:tab pos="623888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tabLst>
                <a:tab pos="623888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Tx/>
              <a:buNone/>
              <a:tabLst>
                <a:tab pos="623888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Aft>
                <a:spcPts val="600"/>
              </a:spcAft>
            </a:pPr>
            <a:fld id="{672C9EDE-4A13-4E4A-9EAA-A59A97CC9CE2}" type="slidenum">
              <a:rPr lang="en-GB" sz="900" b="0" smtClean="0"/>
              <a:pPr algn="ctr">
                <a:lnSpc>
                  <a:spcPct val="90000"/>
                </a:lnSpc>
                <a:spcAft>
                  <a:spcPts val="600"/>
                </a:spcAft>
              </a:pPr>
              <a:t>7</a:t>
            </a:fld>
            <a:endParaRPr lang="en-GB" sz="900" b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9378F0BA-4A7E-6B98-F26E-4134B219DC1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87388" y="6381353"/>
            <a:ext cx="2484276" cy="215999"/>
          </a:xfrm>
        </p:spPr>
        <p:txBody>
          <a:bodyPr lIns="0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kern="1200"/>
              <a:t>Clearstream | Deutsche Börse Group</a:t>
            </a:r>
            <a:endParaRPr lang="en-GB" kern="1200" noProof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5236219-9BB7-36A4-40BF-CA4EB4E1C415}"/>
              </a:ext>
            </a:extLst>
          </p:cNvPr>
          <p:cNvSpPr/>
          <p:nvPr/>
        </p:nvSpPr>
        <p:spPr>
          <a:xfrm>
            <a:off x="5806768" y="6597352"/>
            <a:ext cx="576064" cy="215999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err="1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851661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SHOW_CA" val="False"/>
  <p:tag name="THINKCELLUNDODONOTDELETE" val="0"/>
  <p:tag name="MIO_PRESENTATION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892ef98-e965-4d2c-8c83-494a83649896"/>
  <p:tag name="MIO_EKGUID" val="cdc06b8a-b0b9-4c36-95c1-fa066da490eb"/>
  <p:tag name="MIO_UPDATE" val="True"/>
  <p:tag name="MIO_VERSION" val="25.05.2023 06:13:57"/>
  <p:tag name="MIO_DBID" val="0F45B44C-9BC7-4D85-81C4-7155EE70A7B9"/>
  <p:tag name="MIO_LASTDOWNLOADED" val="01.03.2024 16:10:34.609"/>
  <p:tag name="MIO_OBJECTNAME" val="01 Title with Stream"/>
  <p:tag name="MIO_LASTEDITORNAME" val="Sandra Web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cb578b5-bb61-495a-a5b2-9e17497287fb"/>
  <p:tag name="MIO_EKGUID" val="305e7cc6-39f0-4d36-b51e-71bf8b24f1f6"/>
  <p:tag name="MIO_UPDATE" val="True"/>
  <p:tag name="MIO_VERSION" val="08.05.2023 09:44:31"/>
  <p:tag name="MIO_DBID" val="0f45b44c-9bc7-4d85-81c4-7155ee70a7b9"/>
  <p:tag name="MIO_LASTDOWNLOADED" val="08.05.2023 14:42:30"/>
  <p:tag name="MIO_OBJECTNAME" val="A number of significant trends will shape the post-trade industry of the future"/>
  <p:tag name="MIO_LASTEDITORNAME" val="Valerie de Jon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77876820-d53d-4b08-9980-519f230a4cf1"/>
  <p:tag name="MIO_GUID" val="91aef53d-af2e-4769-affa-7a12cea2da3a"/>
  <p:tag name="MIO_UPDATE" val="True"/>
  <p:tag name="MIO_VERSION" val="30.03.2021 13:35:58"/>
  <p:tag name="MIO_DBID" val="0F45B44C-9BC7-4D85-81C4-7155EE70A7B9"/>
  <p:tag name="MIO_LASTDOWNLOADED" val="28.09.2022 10:51:59.906"/>
  <p:tag name="MIO_OBJECTNAME" val="System"/>
  <p:tag name="MIO_LASTEDITORNAME" val="Stephan Grambach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2756c3aa-d221-4054-8e8e-d148080bcd7c"/>
  <p:tag name="MIO_GUID" val="afa7ba59-9d9b-4948-a21e-8a158c38b939"/>
  <p:tag name="MIO_UPDATE" val="True"/>
  <p:tag name="MIO_VERSION" val="30.03.2021 13:21:56"/>
  <p:tag name="MIO_DBID" val="0F45B44C-9BC7-4D85-81C4-7155EE70A7B9"/>
  <p:tag name="MIO_LASTDOWNLOADED" val="04.05.2023 11:45:41.045"/>
  <p:tag name="MIO_OBJECTNAME" val="Gearwheel"/>
  <p:tag name="MIO_LASTEDITORNAME" val="Stephan Grambach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bbae7089-e9fb-4c84-8d10-7a819a885861"/>
  <p:tag name="MIO_GUID" val="02c2ba1b-dece-4a11-9218-b5811f7aa9a9"/>
  <p:tag name="MIO_UPDATE" val="True"/>
  <p:tag name="MIO_VERSION" val="30.03.2021 13:13:45"/>
  <p:tag name="MIO_DBID" val="0F45B44C-9BC7-4D85-81C4-7155EE70A7B9"/>
  <p:tag name="MIO_LASTDOWNLOADED" val="04.05.2023 11:47:14.899"/>
  <p:tag name="MIO_OBJECTNAME" val="Negotiation"/>
  <p:tag name="MIO_LASTEDITORNAME" val="Stephan Grambach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9ef42a65-387c-4627-b9eb-7de3cf06b11f"/>
  <p:tag name="MIO_GUID" val="efc31017-78c1-4aa6-9bba-f0a3abd3df8b"/>
  <p:tag name="MIO_UPDATE" val="True"/>
  <p:tag name="MIO_VERSION" val="30.03.2021 13:12:59"/>
  <p:tag name="MIO_DBID" val="0F45B44C-9BC7-4D85-81C4-7155EE70A7B9"/>
  <p:tag name="MIO_LASTDOWNLOADED" val="28.09.2022 14:30:24.050"/>
  <p:tag name="MIO_OBJECTNAME" val="Lightbulb"/>
  <p:tag name="MIO_LASTEDITORNAME" val="Stephan Grambach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d659a16-341e-4d1c-b647-74cf08111a05"/>
  <p:tag name="MIO_EKGUID" val="8de79d3c-b41f-4e92-bcba-dd12cb6ddb7c"/>
  <p:tag name="MIO_UPDATE" val="True"/>
  <p:tag name="MIO_VERSION" val="31.03.2021 12:29:43"/>
  <p:tag name="MIO_DBID" val="0F45B44C-9BC7-4D85-81C4-7155EE70A7B9"/>
  <p:tag name="MIO_LASTDOWNLOADED" val="02.01.2024 09:34:50.277"/>
  <p:tag name="MIO_OBJECTNAME" val="Content – One Column This is an optional Subline: Lorem ipsum dolor sit amet, consectetur adipiscing elit."/>
  <p:tag name="MIO_LASTEDITORNAME" val="Stephan Grambach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d659a16-341e-4d1c-b647-74cf08111a05"/>
  <p:tag name="MIO_EKGUID" val="8de79d3c-b41f-4e92-bcba-dd12cb6ddb7c"/>
  <p:tag name="MIO_UPDATE" val="True"/>
  <p:tag name="MIO_VERSION" val="31.03.2021 12:29:43"/>
  <p:tag name="MIO_DBID" val="0F45B44C-9BC7-4D85-81C4-7155EE70A7B9"/>
  <p:tag name="MIO_LASTDOWNLOADED" val="02.01.2024 09:34:50.277"/>
  <p:tag name="MIO_OBJECTNAME" val="Content – One Column This is an optional Subline: Lorem ipsum dolor sit amet, consectetur adipiscing elit."/>
  <p:tag name="MIO_LASTEDITORNAME" val="Stephan Grambach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Z0.sUiJVthkTkHyBxyx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e97a9ec-af19-4b02-a511-509fc6f1d9c0"/>
  <p:tag name="MIO_EKGUID" val="ffcc3345-473f-4a49-ae41-69f725dce3c1"/>
  <p:tag name="MIO_UPDATE" val="True"/>
  <p:tag name="MIO_VERSION" val="30.03.2021 10:53:14"/>
  <p:tag name="MIO_DBID" val="0F45B44C-9BC7-4D85-81C4-7155EE70A7B9"/>
  <p:tag name="MIO_LASTDOWNLOADED" val="01.03.2024 16:13:21.853"/>
  <p:tag name="MIO_OBJECTNAME" val="Thank you! (3)"/>
  <p:tag name="MIO_LASTEDITORNAME" val="Stephan Grambach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c65902dc-e053-4881-b73f-33b075c5b3a5"/>
  <p:tag name="MIO_UPDATE" val="True"/>
  <p:tag name="MIO_DBID" val="0F45B44C-9BC7-4D85-81C4-7155EE70A7B9"/>
  <p:tag name="MIO_OBJECTNAME" val="Clearstream"/>
  <p:tag name="MIO_FALLBACK_LAYOUT" val="21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36"/>
  <p:tag name="MIO_VERSION" val="27.05.2021 09:14:37"/>
  <p:tag name="MIO_LASTDOWNLOADED" val="04.04.2023 13:17:25.266"/>
  <p:tag name="MIO_CDID" val="b581ecfa-a3b5-4558-9b02-8db253accba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Title;"/>
  <p:tag name="MIO_USER_INPUT_TEXT" val=" "/>
</p:tagLst>
</file>

<file path=ppt/theme/theme1.xml><?xml version="1.0" encoding="utf-8"?>
<a:theme xmlns:a="http://schemas.openxmlformats.org/drawingml/2006/main" name="Clearstream">
  <a:themeElements>
    <a:clrScheme name="Clearstream">
      <a:dk1>
        <a:srgbClr val="666666"/>
      </a:dk1>
      <a:lt1>
        <a:srgbClr val="FFFFFF"/>
      </a:lt1>
      <a:dk2>
        <a:srgbClr val="878787"/>
      </a:dk2>
      <a:lt2>
        <a:srgbClr val="E3E3E3"/>
      </a:lt2>
      <a:accent1>
        <a:srgbClr val="00A5C0"/>
      </a:accent1>
      <a:accent2>
        <a:srgbClr val="77B700"/>
      </a:accent2>
      <a:accent3>
        <a:srgbClr val="686C6E"/>
      </a:accent3>
      <a:accent4>
        <a:srgbClr val="000099"/>
      </a:accent4>
      <a:accent5>
        <a:srgbClr val="BF2296"/>
      </a:accent5>
      <a:accent6>
        <a:srgbClr val="FF6600"/>
      </a:accent6>
      <a:hlink>
        <a:srgbClr val="00A5C0"/>
      </a:hlink>
      <a:folHlink>
        <a:srgbClr val="00A5C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>
          <a:solidFill>
            <a:schemeClr val="tx1"/>
          </a:solidFill>
        </a:ln>
      </a:spPr>
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0" indent="0" algn="l">
          <a:spcAft>
            <a:spcPts val="600"/>
          </a:spcAft>
          <a:buFontTx/>
          <a:buNone/>
          <a:defRPr sz="1600" dirty="0" err="1"/>
        </a:defPPr>
      </a:lstStyle>
    </a:txDef>
  </a:objectDefaults>
  <a:extraClrSchemeLst/>
  <a:custClrLst>
    <a:custClr name="Black 80%">
      <a:srgbClr val="5A5A5A"/>
    </a:custClr>
    <a:custClr name="Black 30%">
      <a:srgbClr val="C8C8C8"/>
    </a:custClr>
    <a:custClr name="Yellow">
      <a:srgbClr val="FFCC00"/>
    </a:custClr>
    <a:custClr name="Green">
      <a:srgbClr val="00C78B"/>
    </a:custClr>
    <a:custClr name="Violette">
      <a:srgbClr val="5F3799"/>
    </a:custClr>
    <a:custClr name="Red">
      <a:srgbClr val="E00034"/>
    </a:custClr>
  </a:custClrLst>
  <a:extLst>
    <a:ext uri="{05A4C25C-085E-4340-85A3-A5531E510DB2}">
      <thm15:themeFamily xmlns:thm15="http://schemas.microsoft.com/office/thememl/2012/main" name="K16_Deutsche_Boerse_Group_Master_empower_final.potx" id="{EF0194E1-8EED-4DF6-884D-9D670CF467FF}" vid="{7F7F911C-BBF2-404A-BEB8-2674AAA2583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a226e4b-c59b-41bf-a4d9-6e88639f010b" xsi:nil="true"/>
    <lcf76f155ced4ddcb4097134ff3c332f xmlns="1f71b144-df23-476f-878a-f2a729b13e42">
      <Terms xmlns="http://schemas.microsoft.com/office/infopath/2007/PartnerControls"/>
    </lcf76f155ced4ddcb4097134ff3c332f>
    <SharedWithUsers xmlns="2a226e4b-c59b-41bf-a4d9-6e88639f010b">
      <UserInfo>
        <DisplayName>Gregory Rodeheaver</DisplayName>
        <AccountId>13</AccountId>
        <AccountType/>
      </UserInfo>
      <UserInfo>
        <DisplayName>Nathalia Teofilo</DisplayName>
        <AccountId>11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F21BFE0693A05429C55BF5047F65779" ma:contentTypeVersion="17" ma:contentTypeDescription="Create a new document." ma:contentTypeScope="" ma:versionID="872113dd76683f2d5b5e613839d41153">
  <xsd:schema xmlns:xsd="http://www.w3.org/2001/XMLSchema" xmlns:xs="http://www.w3.org/2001/XMLSchema" xmlns:p="http://schemas.microsoft.com/office/2006/metadata/properties" xmlns:ns2="1f71b144-df23-476f-878a-f2a729b13e42" xmlns:ns3="2a226e4b-c59b-41bf-a4d9-6e88639f010b" targetNamespace="http://schemas.microsoft.com/office/2006/metadata/properties" ma:root="true" ma:fieldsID="f1214cc3926a19cdcdd2a412b724a4e2" ns2:_="" ns3:_="">
    <xsd:import namespace="1f71b144-df23-476f-878a-f2a729b13e42"/>
    <xsd:import namespace="2a226e4b-c59b-41bf-a4d9-6e88639f010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f71b144-df23-476f-878a-f2a729b13e4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917e55e0-b0a9-432c-94a7-1995524fa84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a226e4b-c59b-41bf-a4d9-6e88639f010b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8" nillable="true" ma:displayName="Taxonomy Catch All Column" ma:hidden="true" ma:list="{1c84e365-ffed-474b-98dd-c237acbaf346}" ma:internalName="TaxCatchAll" ma:showField="CatchAllData" ma:web="2a226e4b-c59b-41bf-a4d9-6e88639f010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WrappedLabelHistory xmlns:xsi="http://www.w3.org/2001/XMLSchema-instance" xmlns:xsd="http://www.w3.org/2001/XMLSchema" xmlns="http://www.boldonjames.com/2016/02/Classifier/internal/wrappedLabelHistory">
  <Value>PD94bWwgdmVyc2lvbj0iMS4wIiBlbmNvZGluZz0idXMtYXNjaWkiPz48bGFiZWxIaXN0b3J5IHhtbG5zOnhzaT0iaHR0cDovL3d3dy53My5vcmcvMjAwMS9YTUxTY2hlbWEtaW5zdGFuY2UiIHhtbG5zOnhzZD0iaHR0cDovL3d3dy53My5vcmcvMjAwMS9YTUxTY2hlbWEiIHhtbG5zPSJodHRwOi8vd3d3LmJvbGRvbmphbWVzLmNvbS8yMDE2LzAyL0NsYXNzaWZpZXIvaW50ZXJuYWwvbGFiZWxIaXN0b3J5Ij48aXRlbT48c2lzbCBzaXNsVmVyc2lvbj0iMCIgcG9saWN5PSI1ZTIxNjY1Mi03Y2IxLTQyZDMtYTIyZi1mYjVjN2YzNDhkYjUiIG9yaWdpbj0idXNlclNlbGVjdGVkIj48ZWxlbWVudCB1aWQ9ImlkX2NsYXNzaWZpY2F0aW9uX2ludGVybmFsb25seSIgdmFsdWU9IiIgeG1sbnM9Imh0dHA6Ly93d3cuYm9sZG9uamFtZXMuY29tLzIwMDgvMDEvc2llL2ludGVybmFsL2xhYmVsIiAvPjwvc2lzbD48VXNlck5hbWU+T0FBRFxmczE2MzwvVXNlck5hbWU+PERhdGVUaW1lPjEyLjExLjIwMTkgMTM6Mzk6Mzc8L0RhdGVUaW1lPjxMYWJlbFN0cmluZz5JbnRlcm5hbDwvTGFiZWxTdHJpbmc+PC9pdGVtPjwvbGFiZWxIaXN0b3J5Pg==</Value>
</WrappedLabelHistory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WrappedLabelHistory xmlns:xsi="http://www.w3.org/2001/XMLSchema-instance" xmlns:xsd="http://www.w3.org/2001/XMLSchema" xmlns="http://www.boldonjames.com/2016/02/Classifier/internal/wrappedLabelHistory">
  <Value>PD94bWwgdmVyc2lvbj0iMS4wIiBlbmNvZGluZz0idXMtYXNjaWkiPz48bGFiZWxIaXN0b3J5IHhtbG5zOnhzaT0iaHR0cDovL3d3dy53My5vcmcvMjAwMS9YTUxTY2hlbWEtaW5zdGFuY2UiIHhtbG5zOnhzZD0iaHR0cDovL3d3dy53My5vcmcvMjAwMS9YTUxTY2hlbWEiIHhtbG5zPSJodHRwOi8vd3d3LmJvbGRvbmphbWVzLmNvbS8yMDE2LzAyL0NsYXNzaWZpZXIvaW50ZXJuYWwvbGFiZWxIaXN0b3J5Ij48aXRlbT48c2lzbCBzaXNsVmVyc2lvbj0iMCIgcG9saWN5PSI1ZTIxNjY1Mi03Y2IxLTQyZDMtYTIyZi1mYjVjN2YzNDhkYjUiIG9yaWdpbj0idXNlclNlbGVjdGVkIj48ZWxlbWVudCB1aWQ9ImlkX2NsYXNzaWZpY2F0aW9uX25vbmJ1c2luZXNzIiB2YWx1ZT0iIiB4bWxucz0iaHR0cDovL3d3dy5ib2xkb25qYW1lcy5jb20vMjAwOC8wMS9zaWUvaW50ZXJuYWwvbGFiZWwiIC8+PC9zaXNsPjxVc2VyTmFtZT5PQUFEXHFqNDY4PC9Vc2VyTmFtZT48RGF0ZVRpbWU+MTIvMTEvMjAyMCA5OjAyOjM0IEFNPC9EYXRlVGltZT48TGFiZWxTdHJpbmc+UHVibGljPC9MYWJlbFN0cmluZz48L2l0ZW0+PC9sYWJlbEhpc3Rvcnk+</Value>
</WrappedLabelHistory>
</file>

<file path=customXml/item6.xml><?xml version="1.0" encoding="utf-8"?>
<sisl xmlns:xsi="http://www.w3.org/2001/XMLSchema-instance" xmlns:xsd="http://www.w3.org/2001/XMLSchema" xmlns="http://www.boldonjames.com/2008/01/sie/internal/label" sislVersion="0" policy="5e216652-7cb1-42d3-a22f-fb5c7f348db5" origin="userSelected">
  <element uid="id_classification_nonbusiness" value=""/>
</sisl>
</file>

<file path=customXml/itemProps1.xml><?xml version="1.0" encoding="utf-8"?>
<ds:datastoreItem xmlns:ds="http://schemas.openxmlformats.org/officeDocument/2006/customXml" ds:itemID="{B8446368-80CB-4A71-BA3E-66F818473476}">
  <ds:schemaRefs>
    <ds:schemaRef ds:uri="1f71b144-df23-476f-878a-f2a729b13e42"/>
    <ds:schemaRef ds:uri="2a226e4b-c59b-41bf-a4d9-6e88639f010b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BF8C9635-4D71-4823-BF21-D431FEA323EE}">
  <ds:schemaRefs>
    <ds:schemaRef ds:uri="1f71b144-df23-476f-878a-f2a729b13e42"/>
    <ds:schemaRef ds:uri="2a226e4b-c59b-41bf-a4d9-6e88639f010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D8B0A66D-4851-4D7D-9286-4820FED6CE16}">
  <ds:schemaRefs>
    <ds:schemaRef ds:uri="http://www.boldonjames.com/2016/02/Classifier/internal/wrappedLabelHistory"/>
    <ds:schemaRef ds:uri="http://www.w3.org/2001/XMLSchema"/>
  </ds:schemaRefs>
</ds:datastoreItem>
</file>

<file path=customXml/itemProps4.xml><?xml version="1.0" encoding="utf-8"?>
<ds:datastoreItem xmlns:ds="http://schemas.openxmlformats.org/officeDocument/2006/customXml" ds:itemID="{25A045FB-7595-433C-BD2F-B5BAFDC6512E}">
  <ds:schemaRefs>
    <ds:schemaRef ds:uri="http://schemas.microsoft.com/sharepoint/v3/contenttype/forms"/>
  </ds:schemaRefs>
</ds:datastoreItem>
</file>

<file path=customXml/itemProps5.xml><?xml version="1.0" encoding="utf-8"?>
<ds:datastoreItem xmlns:ds="http://schemas.openxmlformats.org/officeDocument/2006/customXml" ds:itemID="{84DA957C-70AD-4ADB-9860-C1C157418155}">
  <ds:schemaRefs>
    <ds:schemaRef ds:uri="http://www.boldonjames.com/2016/02/Classifier/internal/wrappedLabelHistory"/>
    <ds:schemaRef ds:uri="http://www.w3.org/2001/XMLSchema"/>
  </ds:schemaRefs>
</ds:datastoreItem>
</file>

<file path=customXml/itemProps6.xml><?xml version="1.0" encoding="utf-8"?>
<ds:datastoreItem xmlns:ds="http://schemas.openxmlformats.org/officeDocument/2006/customXml" ds:itemID="{B29A5ACC-3C9F-46DD-9B9C-A3404C2D6DFD}">
  <ds:schemaRefs>
    <ds:schemaRef ds:uri="http://www.boldonjames.com/2008/01/sie/internal/label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05</Words>
  <Application>Microsoft Office PowerPoint</Application>
  <PresentationFormat>Widescreen</PresentationFormat>
  <Paragraphs>96</Paragraphs>
  <Slides>7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Arial</vt:lpstr>
      <vt:lpstr>Calibri</vt:lpstr>
      <vt:lpstr>Calibri Light</vt:lpstr>
      <vt:lpstr>Trebuchet MS</vt:lpstr>
      <vt:lpstr>Clearstream</vt:lpstr>
      <vt:lpstr>think-cell Folie</vt:lpstr>
      <vt:lpstr>think-cell Slide</vt:lpstr>
      <vt:lpstr>ACSDA: Asamblea General 2024 Parcerías en el mercado</vt:lpstr>
      <vt:lpstr>Tendencias significativas en la futura industria de post-negociacion</vt:lpstr>
      <vt:lpstr>Servicio de gestión de colateral en Clearstream para infraestructuras de mercado</vt:lpstr>
      <vt:lpstr>Servicios de Gestión de Colateral – Externalización</vt:lpstr>
      <vt:lpstr>Servicios de Gestión de Colateral – Servicio Conjunto</vt:lpstr>
      <vt:lpstr>Beneficios de operar vía parcerías</vt:lpstr>
      <vt:lpstr>Gracias!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andra Weber</dc:creator>
  <cp:lastModifiedBy>Nathalia Teofilo</cp:lastModifiedBy>
  <cp:revision>1</cp:revision>
  <cp:lastPrinted>2024-01-09T16:28:40Z</cp:lastPrinted>
  <dcterms:created xsi:type="dcterms:W3CDTF">2023-05-25T06:20:42Z</dcterms:created>
  <dcterms:modified xsi:type="dcterms:W3CDTF">2024-03-06T20:36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e952e98-911c-4aff-840a-f71bc6baaf7f_Enabled">
    <vt:lpwstr>true</vt:lpwstr>
  </property>
  <property fmtid="{D5CDD505-2E9C-101B-9397-08002B2CF9AE}" pid="3" name="MSIP_Label_2e952e98-911c-4aff-840a-f71bc6baaf7f_SetDate">
    <vt:lpwstr>2024-01-02T09:50:56Z</vt:lpwstr>
  </property>
  <property fmtid="{D5CDD505-2E9C-101B-9397-08002B2CF9AE}" pid="4" name="MSIP_Label_2e952e98-911c-4aff-840a-f71bc6baaf7f_Method">
    <vt:lpwstr>Standard</vt:lpwstr>
  </property>
  <property fmtid="{D5CDD505-2E9C-101B-9397-08002B2CF9AE}" pid="5" name="MSIP_Label_2e952e98-911c-4aff-840a-f71bc6baaf7f_Name">
    <vt:lpwstr>2e952e98-911c-4aff-840a-f71bc6baaf7f</vt:lpwstr>
  </property>
  <property fmtid="{D5CDD505-2E9C-101B-9397-08002B2CF9AE}" pid="6" name="MSIP_Label_2e952e98-911c-4aff-840a-f71bc6baaf7f_SiteId">
    <vt:lpwstr>e00ddcdf-1e0f-4be5-a37a-894a4731986a</vt:lpwstr>
  </property>
  <property fmtid="{D5CDD505-2E9C-101B-9397-08002B2CF9AE}" pid="7" name="MSIP_Label_2e952e98-911c-4aff-840a-f71bc6baaf7f_ActionId">
    <vt:lpwstr>57b91882-b6aa-414b-9f9d-dfd6e6193386</vt:lpwstr>
  </property>
  <property fmtid="{D5CDD505-2E9C-101B-9397-08002B2CF9AE}" pid="8" name="MSIP_Label_2e952e98-911c-4aff-840a-f71bc6baaf7f_ContentBits">
    <vt:lpwstr>2</vt:lpwstr>
  </property>
  <property fmtid="{D5CDD505-2E9C-101B-9397-08002B2CF9AE}" pid="9" name="ContentTypeId">
    <vt:lpwstr>0x010100EF21BFE0693A05429C55BF5047F65779</vt:lpwstr>
  </property>
  <property fmtid="{D5CDD505-2E9C-101B-9397-08002B2CF9AE}" pid="10" name="MediaServiceImageTags">
    <vt:lpwstr/>
  </property>
</Properties>
</file>